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sldIdLst>
    <p:sldId id="2147472855" r:id="rId5"/>
    <p:sldId id="2147480435" r:id="rId6"/>
    <p:sldId id="2147480439" r:id="rId7"/>
    <p:sldId id="2147480436" r:id="rId8"/>
    <p:sldId id="2147480437" r:id="rId9"/>
    <p:sldId id="2147480438" r:id="rId10"/>
    <p:sldId id="2147480433" r:id="rId1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0E043AB-EEFD-478B-8AB6-87AA01C862B4}">
          <p14:sldIdLst>
            <p14:sldId id="2147472855"/>
            <p14:sldId id="2147480435"/>
            <p14:sldId id="2147480439"/>
            <p14:sldId id="2147480436"/>
            <p14:sldId id="2147480437"/>
            <p14:sldId id="2147480438"/>
            <p14:sldId id="21474804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EE16"/>
    <a:srgbClr val="460073"/>
    <a:srgbClr val="00CC00"/>
    <a:srgbClr val="893D81"/>
    <a:srgbClr val="8A3D82"/>
    <a:srgbClr val="AD43FF"/>
    <a:srgbClr val="2079D4"/>
    <a:srgbClr val="FAFAFA"/>
    <a:srgbClr val="1A355C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10D306-B830-407C-B0AE-E90DF54671B9}" v="19" dt="2025-10-03T09:37:22.6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73" autoAdjust="0"/>
    <p:restoredTop sz="93679" autoAdjust="0"/>
  </p:normalViewPr>
  <p:slideViewPr>
    <p:cSldViewPr snapToGrid="0">
      <p:cViewPr varScale="1">
        <p:scale>
          <a:sx n="69" d="100"/>
          <a:sy n="69" d="100"/>
        </p:scale>
        <p:origin x="84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43F69-7986-4C9B-9035-E3782BC329A7}" type="datetimeFigureOut">
              <a:rPr lang="it-IT" smtClean="0"/>
              <a:t>03/10/2025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ED0B7-4A1D-4516-B6E3-451BA902755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4749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0084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3689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D3A6E-AC88-57E7-C871-9B831CE7B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046CA4-6F24-0A71-A7DE-7FCCE45F80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0A1D22-25FA-0894-4835-0755F89065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0B2BD1-DA94-AC98-EC82-1E96EFD5FB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8523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3272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2322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68413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ED0B7-4A1D-4516-B6E3-451BA9027554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7838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hyperlink" Target="mailto:Amy.Ritz@Accenture.com" TargetMode="Externa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2984D0-732D-42D6-9902-5076C03E9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8221" y="5881492"/>
            <a:ext cx="4395557" cy="278295"/>
          </a:xfrm>
          <a:prstGeom prst="rect">
            <a:avLst/>
          </a:prstGeom>
        </p:spPr>
      </p:pic>
      <p:pic>
        <p:nvPicPr>
          <p:cNvPr id="4" name="Picture 3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10C49762-38E4-48E9-8096-41008426FC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698213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641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05984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3513953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1689691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6645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323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it-IT"/>
              <a:t>Place sub-headline here in GT Sectra Fine, indent for other levels</a:t>
            </a:r>
          </a:p>
          <a:p>
            <a:pPr lvl="1"/>
            <a:r>
              <a:rPr lang="it-IT"/>
              <a:t>Second level (text 18pt)</a:t>
            </a:r>
          </a:p>
          <a:p>
            <a:pPr lvl="2"/>
            <a:r>
              <a:rPr lang="it-IT"/>
              <a:t>Third level bullet (bullet 18pt)</a:t>
            </a:r>
          </a:p>
          <a:p>
            <a:pPr lvl="3"/>
            <a:r>
              <a:rPr lang="it-IT"/>
              <a:t>Fourth level bullet (bullet 16pt)</a:t>
            </a:r>
          </a:p>
          <a:p>
            <a:pPr lvl="4"/>
            <a:r>
              <a:rPr lang="it-IT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it-IT"/>
              <a:t>Place headline here (36pt, min 30pt)</a:t>
            </a:r>
          </a:p>
        </p:txBody>
      </p:sp>
    </p:spTree>
    <p:extLst>
      <p:ext uri="{BB962C8B-B14F-4D97-AF65-F5344CB8AC3E}">
        <p14:creationId xmlns:p14="http://schemas.microsoft.com/office/powerpoint/2010/main" val="1605605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it-IT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it-IT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613916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it-IT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it-IT"/>
              <a:t>Six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it-IT"/>
              <a:t>Six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1614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it-IT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it-IT"/>
              <a:t>Place text here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442701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it-IT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Headline</a:t>
            </a:r>
          </a:p>
          <a:p>
            <a:pPr lvl="1"/>
            <a:r>
              <a:rPr lang="it-IT"/>
              <a:t>Details</a:t>
            </a:r>
          </a:p>
          <a:p>
            <a:pPr lvl="2"/>
            <a:r>
              <a:rPr lang="it-IT"/>
              <a:t>More details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Headline</a:t>
            </a:r>
          </a:p>
          <a:p>
            <a:pPr lvl="1"/>
            <a:r>
              <a:rPr lang="it-IT"/>
              <a:t>Details</a:t>
            </a:r>
          </a:p>
          <a:p>
            <a:pPr lvl="2"/>
            <a:r>
              <a:rPr lang="it-IT"/>
              <a:t>More details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Headline</a:t>
            </a:r>
          </a:p>
          <a:p>
            <a:pPr lvl="1"/>
            <a:r>
              <a:rPr lang="it-IT"/>
              <a:t>Details</a:t>
            </a:r>
          </a:p>
          <a:p>
            <a:pPr lvl="2"/>
            <a:r>
              <a:rPr lang="it-IT"/>
              <a:t>More details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Headline</a:t>
            </a:r>
          </a:p>
          <a:p>
            <a:pPr lvl="1"/>
            <a:r>
              <a:rPr lang="it-IT"/>
              <a:t>Details</a:t>
            </a:r>
          </a:p>
          <a:p>
            <a:pPr lvl="2"/>
            <a:r>
              <a:rPr lang="it-IT"/>
              <a:t>More details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Headline</a:t>
            </a:r>
          </a:p>
          <a:p>
            <a:pPr lvl="1"/>
            <a:r>
              <a:rPr lang="it-IT"/>
              <a:t>Details</a:t>
            </a:r>
          </a:p>
          <a:p>
            <a:pPr lvl="2"/>
            <a:r>
              <a:rPr lang="it-IT"/>
              <a:t>More details</a:t>
            </a:r>
          </a:p>
          <a:p>
            <a:pPr lvl="3"/>
            <a:r>
              <a:rPr lang="it-IT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it-IT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it-IT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it-IT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it-IT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25905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2" y="698213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3E249B-71DD-844A-A419-DCE08CBE4D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8221" y="5881492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67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it-IT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it-IT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it-IT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ull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/>
              <a:t>Full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/>
              <a:t>Full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/>
              <a:t>Full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94642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6419" y="2109227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it-IT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751523" y="2109227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26627" y="2109227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795198" y="2109227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820094" y="2109227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772834" y="3949548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748655" y="3949548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724476" y="3949548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7819377" y="3949548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9795198" y="3949548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2834" y="4190168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8655" y="4190168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24476" y="4190168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19377" y="4190168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95198" y="4190168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599391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it-IT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78358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it-IT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Last name</a:t>
            </a:r>
          </a:p>
          <a:p>
            <a:pPr lvl="1"/>
            <a:r>
              <a:rPr lang="it-IT"/>
              <a:t>Role</a:t>
            </a:r>
          </a:p>
          <a:p>
            <a:pPr lvl="2"/>
            <a:r>
              <a:rPr lang="it-IT"/>
              <a:t>Short bio</a:t>
            </a:r>
          </a:p>
          <a:p>
            <a:pPr lvl="3"/>
            <a:r>
              <a:rPr lang="it-IT"/>
              <a:t>Bullet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3CD3D7-329E-47BB-94A7-43044FF6B3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02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/>
          <a:p>
            <a:pPr lvl="0"/>
            <a:r>
              <a:rPr lang="it-IT"/>
              <a:t>Place text here, use indent to access other level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 userDrawn="1"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 userDrawn="1"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 userDrawn="1"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it-IT"/>
              <a:t>Add profile photo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 userDrawn="1"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 userDrawn="1"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 userDrawn="1"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it-IT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it-IT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 userDrawn="1"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 userDrawn="1"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 userDrawn="1"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84812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it-IT"/>
              <a:t>Place sub-headline here in GT Sectra Fine, indent for other levels</a:t>
            </a:r>
          </a:p>
          <a:p>
            <a:pPr lvl="1"/>
            <a:r>
              <a:rPr lang="it-IT"/>
              <a:t>Second level (text 18pt)</a:t>
            </a:r>
          </a:p>
          <a:p>
            <a:pPr lvl="2"/>
            <a:r>
              <a:rPr lang="it-IT"/>
              <a:t>Third level bullet (bullet 18pt)</a:t>
            </a:r>
          </a:p>
          <a:p>
            <a:pPr lvl="3"/>
            <a:r>
              <a:rPr lang="it-IT"/>
              <a:t>Fourth level bullet (bullet 16pt)</a:t>
            </a:r>
          </a:p>
          <a:p>
            <a:pPr lvl="4"/>
            <a:r>
              <a:rPr lang="it-IT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it-IT" sz="800">
                <a:solidFill>
                  <a:schemeClr val="tx1">
                    <a:alpha val="75000"/>
                  </a:schemeClr>
                </a:solidFill>
              </a:rPr>
              <a:t>Copyright © 2023 Accenture. All rights reserved.</a:t>
            </a:r>
            <a:endParaRPr lang="it-IT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781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Place sub-headline here in GT Sectra Fine, indent for other levels</a:t>
            </a:r>
          </a:p>
          <a:p>
            <a:pPr lvl="1"/>
            <a:r>
              <a:rPr lang="it-IT"/>
              <a:t>Second level (text 18pt)</a:t>
            </a:r>
          </a:p>
          <a:p>
            <a:pPr lvl="2"/>
            <a:r>
              <a:rPr lang="it-IT"/>
              <a:t>Third level bullet (bullet 18pt)</a:t>
            </a:r>
          </a:p>
          <a:p>
            <a:pPr lvl="3"/>
            <a:r>
              <a:rPr lang="it-IT"/>
              <a:t>Fourth level bullet (bullet 16pt)</a:t>
            </a:r>
          </a:p>
          <a:p>
            <a:pPr lvl="4"/>
            <a:r>
              <a:rPr lang="it-IT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591166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1196527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 her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it-I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it-IT" sz="800">
                <a:solidFill>
                  <a:schemeClr val="bg1">
                    <a:alpha val="75000"/>
                  </a:schemeClr>
                </a:solidFill>
              </a:rPr>
              <a:t>Copyright © 2023 Accenture. All rights reserved.</a:t>
            </a:r>
            <a:endParaRPr lang="it-IT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it-IT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it-IT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598180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 here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it-IT"/>
              <a:t>Add image here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it-IT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it-IT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it-IT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it-IT" sz="800">
                <a:solidFill>
                  <a:schemeClr val="bg1">
                    <a:alpha val="75000"/>
                  </a:schemeClr>
                </a:solidFill>
              </a:rPr>
              <a:t>Copyright © 2023 Accenture. All rights reserved.</a:t>
            </a:r>
            <a:endParaRPr lang="it-IT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it-IT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it-IT" noProof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077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776346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8845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</a:p>
        </p:txBody>
      </p:sp>
    </p:spTree>
    <p:extLst>
      <p:ext uri="{BB962C8B-B14F-4D97-AF65-F5344CB8AC3E}">
        <p14:creationId xmlns:p14="http://schemas.microsoft.com/office/powerpoint/2010/main" val="2828790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it-IT" smtClean="0"/>
              <a:pPr algn="r" defTabSz="228600">
                <a:spcAft>
                  <a:spcPts val="1200"/>
                </a:spcAft>
              </a:pPr>
              <a:t>‹#›</a:t>
            </a:fld>
            <a:endParaRPr lang="it-IT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it-IT" sz="800">
                <a:solidFill>
                  <a:schemeClr val="tx1">
                    <a:alpha val="75000"/>
                  </a:schemeClr>
                </a:solidFill>
              </a:rPr>
              <a:t>Copyright © 2023 Accenture. All rights reserved.</a:t>
            </a:r>
            <a:endParaRPr lang="it-IT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337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</p:spTree>
    <p:extLst>
      <p:ext uri="{BB962C8B-B14F-4D97-AF65-F5344CB8AC3E}">
        <p14:creationId xmlns:p14="http://schemas.microsoft.com/office/powerpoint/2010/main" val="8853477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 - 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CECD371-7C06-488E-AA23-EB47BBF733D9}"/>
              </a:ext>
            </a:extLst>
          </p:cNvPr>
          <p:cNvSpPr txBox="1">
            <a:spLocks/>
          </p:cNvSpPr>
          <p:nvPr userDrawn="1"/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noProof="0"/>
              <a:t>Iconography: Mono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966297-1DCC-45B0-9DA7-3CE9DE25D2DF}"/>
              </a:ext>
            </a:extLst>
          </p:cNvPr>
          <p:cNvSpPr txBox="1"/>
          <p:nvPr userDrawn="1"/>
        </p:nvSpPr>
        <p:spPr>
          <a:xfrm>
            <a:off x="380999" y="927847"/>
            <a:ext cx="11429981" cy="500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it-IT" sz="1600"/>
              <a:t>Our expansive asset library including fonts, photography, iconography and custom slides are available </a:t>
            </a:r>
            <a:r>
              <a:rPr lang="it-IT" sz="1600">
                <a:solidFill>
                  <a:schemeClr val="accent1"/>
                </a:solidFill>
              </a:rPr>
              <a:t>[here &lt;link&gt;]</a:t>
            </a:r>
            <a:r>
              <a:rPr lang="it-IT" sz="1600"/>
              <a:t>. Contact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  <a:hlinkClick r:id="rId2"/>
              </a:rPr>
              <a:t>Amy.Ritz@Accenture.com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it-IT" sz="1600"/>
              <a:t>for further information. Access the icons below through </a:t>
            </a:r>
            <a:r>
              <a:rPr lang="it-IT" sz="1600" b="1">
                <a:solidFill>
                  <a:schemeClr val="accent1"/>
                </a:solidFill>
              </a:rPr>
              <a:t>View &gt; Slide Master</a:t>
            </a:r>
            <a:r>
              <a:rPr lang="it-IT" sz="1600"/>
              <a:t>.</a:t>
            </a:r>
          </a:p>
        </p:txBody>
      </p:sp>
      <p:sp>
        <p:nvSpPr>
          <p:cNvPr id="4" name="Freeform 127">
            <a:extLst>
              <a:ext uri="{FF2B5EF4-FFF2-40B4-BE49-F238E27FC236}">
                <a16:creationId xmlns:a16="http://schemas.microsoft.com/office/drawing/2014/main" id="{80F51A57-4DBA-FA4F-916F-88328E5E01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67063" y="1981658"/>
            <a:ext cx="513948" cy="396598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latin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8D8CA6-2132-3B4A-BC60-9F91E4B1458B}"/>
              </a:ext>
            </a:extLst>
          </p:cNvPr>
          <p:cNvGrpSpPr/>
          <p:nvPr userDrawn="1"/>
        </p:nvGrpSpPr>
        <p:grpSpPr>
          <a:xfrm>
            <a:off x="380999" y="1577830"/>
            <a:ext cx="11429980" cy="4734070"/>
            <a:chOff x="380999" y="1577845"/>
            <a:chExt cx="11520823" cy="5122866"/>
          </a:xfrm>
          <a:noFill/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AE293C8-14C3-874B-8890-DD874D9F5187}"/>
                </a:ext>
              </a:extLst>
            </p:cNvPr>
            <p:cNvSpPr/>
            <p:nvPr userDrawn="1"/>
          </p:nvSpPr>
          <p:spPr>
            <a:xfrm>
              <a:off x="380999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56D8B7-72A3-4147-AD60-AFE0126E0C59}"/>
                </a:ext>
              </a:extLst>
            </p:cNvPr>
            <p:cNvSpPr/>
            <p:nvPr userDrawn="1"/>
          </p:nvSpPr>
          <p:spPr>
            <a:xfrm>
              <a:off x="166171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88FFDCF-08AC-A745-A14B-1FB83D20EF87}"/>
                </a:ext>
              </a:extLst>
            </p:cNvPr>
            <p:cNvSpPr/>
            <p:nvPr userDrawn="1"/>
          </p:nvSpPr>
          <p:spPr>
            <a:xfrm>
              <a:off x="294243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B6DE6F-DAF8-E246-AB81-6B639342348F}"/>
                </a:ext>
              </a:extLst>
            </p:cNvPr>
            <p:cNvSpPr/>
            <p:nvPr userDrawn="1"/>
          </p:nvSpPr>
          <p:spPr>
            <a:xfrm>
              <a:off x="422314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841CF2-263C-B04E-9960-36397C49999B}"/>
                </a:ext>
              </a:extLst>
            </p:cNvPr>
            <p:cNvSpPr/>
            <p:nvPr userDrawn="1"/>
          </p:nvSpPr>
          <p:spPr>
            <a:xfrm>
              <a:off x="550386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2987178-6410-AF4D-A95C-0F3F1BDEE23D}"/>
                </a:ext>
              </a:extLst>
            </p:cNvPr>
            <p:cNvSpPr/>
            <p:nvPr userDrawn="1"/>
          </p:nvSpPr>
          <p:spPr>
            <a:xfrm>
              <a:off x="380999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970435B-0CE9-444F-B4A6-D7E0FE1E8098}"/>
                </a:ext>
              </a:extLst>
            </p:cNvPr>
            <p:cNvSpPr/>
            <p:nvPr userDrawn="1"/>
          </p:nvSpPr>
          <p:spPr>
            <a:xfrm>
              <a:off x="166171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637EA29-2A06-9242-B2F2-EA7F43329956}"/>
                </a:ext>
              </a:extLst>
            </p:cNvPr>
            <p:cNvSpPr/>
            <p:nvPr userDrawn="1"/>
          </p:nvSpPr>
          <p:spPr>
            <a:xfrm>
              <a:off x="294243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A48AEFC-712D-D044-81E5-6C1E41110759}"/>
                </a:ext>
              </a:extLst>
            </p:cNvPr>
            <p:cNvSpPr/>
            <p:nvPr userDrawn="1"/>
          </p:nvSpPr>
          <p:spPr>
            <a:xfrm>
              <a:off x="422314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CBE003-D5E8-864C-98FA-9796248CE2AC}"/>
                </a:ext>
              </a:extLst>
            </p:cNvPr>
            <p:cNvSpPr/>
            <p:nvPr userDrawn="1"/>
          </p:nvSpPr>
          <p:spPr>
            <a:xfrm>
              <a:off x="550386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ADE82A5-95E4-6C4B-B11D-D53B6705F30D}"/>
                </a:ext>
              </a:extLst>
            </p:cNvPr>
            <p:cNvSpPr/>
            <p:nvPr userDrawn="1"/>
          </p:nvSpPr>
          <p:spPr>
            <a:xfrm>
              <a:off x="380999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3153DA-7E96-5A48-85FB-7AA1D84749D2}"/>
                </a:ext>
              </a:extLst>
            </p:cNvPr>
            <p:cNvSpPr/>
            <p:nvPr userDrawn="1"/>
          </p:nvSpPr>
          <p:spPr>
            <a:xfrm>
              <a:off x="166171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4E1B72-B1CA-DE40-964D-0211741FA050}"/>
                </a:ext>
              </a:extLst>
            </p:cNvPr>
            <p:cNvSpPr/>
            <p:nvPr userDrawn="1"/>
          </p:nvSpPr>
          <p:spPr>
            <a:xfrm>
              <a:off x="294243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DEA1F2-0336-5941-9F8D-A8F560A28115}"/>
                </a:ext>
              </a:extLst>
            </p:cNvPr>
            <p:cNvSpPr/>
            <p:nvPr userDrawn="1"/>
          </p:nvSpPr>
          <p:spPr>
            <a:xfrm>
              <a:off x="422314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7AB087-9AA7-2D4E-A82A-605B50372D51}"/>
                </a:ext>
              </a:extLst>
            </p:cNvPr>
            <p:cNvSpPr/>
            <p:nvPr userDrawn="1"/>
          </p:nvSpPr>
          <p:spPr>
            <a:xfrm>
              <a:off x="550386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F447629-D1B9-0546-851F-E0D5ED605B7A}"/>
                </a:ext>
              </a:extLst>
            </p:cNvPr>
            <p:cNvSpPr/>
            <p:nvPr userDrawn="1"/>
          </p:nvSpPr>
          <p:spPr>
            <a:xfrm>
              <a:off x="6784581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9B1291-33A4-EE48-806C-B5D7A1613345}"/>
                </a:ext>
              </a:extLst>
            </p:cNvPr>
            <p:cNvSpPr/>
            <p:nvPr userDrawn="1"/>
          </p:nvSpPr>
          <p:spPr>
            <a:xfrm>
              <a:off x="6784581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9CEBC75-F9B2-DF40-8FAB-B56A760AED4B}"/>
                </a:ext>
              </a:extLst>
            </p:cNvPr>
            <p:cNvSpPr/>
            <p:nvPr userDrawn="1"/>
          </p:nvSpPr>
          <p:spPr>
            <a:xfrm>
              <a:off x="6784581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E5FF759-951A-054F-9F4A-482FE7225052}"/>
                </a:ext>
              </a:extLst>
            </p:cNvPr>
            <p:cNvSpPr/>
            <p:nvPr userDrawn="1"/>
          </p:nvSpPr>
          <p:spPr>
            <a:xfrm>
              <a:off x="806529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0EB0590-F226-6748-B645-71C913F9B674}"/>
                </a:ext>
              </a:extLst>
            </p:cNvPr>
            <p:cNvSpPr/>
            <p:nvPr userDrawn="1"/>
          </p:nvSpPr>
          <p:spPr>
            <a:xfrm>
              <a:off x="806529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D31B860-B762-A94B-B4E7-355AC4826289}"/>
                </a:ext>
              </a:extLst>
            </p:cNvPr>
            <p:cNvSpPr/>
            <p:nvPr userDrawn="1"/>
          </p:nvSpPr>
          <p:spPr>
            <a:xfrm>
              <a:off x="806529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82F9D60-F80B-2F4A-9903-3996F96A22C1}"/>
                </a:ext>
              </a:extLst>
            </p:cNvPr>
            <p:cNvSpPr/>
            <p:nvPr userDrawn="1"/>
          </p:nvSpPr>
          <p:spPr>
            <a:xfrm>
              <a:off x="380999" y="5419994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9C6B9A7-FBBB-F541-A935-BD7AF34D2A23}"/>
                </a:ext>
              </a:extLst>
            </p:cNvPr>
            <p:cNvSpPr/>
            <p:nvPr userDrawn="1"/>
          </p:nvSpPr>
          <p:spPr>
            <a:xfrm>
              <a:off x="166171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53EEC05-B7DA-1540-9D32-177152835D78}"/>
                </a:ext>
              </a:extLst>
            </p:cNvPr>
            <p:cNvSpPr/>
            <p:nvPr userDrawn="1"/>
          </p:nvSpPr>
          <p:spPr>
            <a:xfrm>
              <a:off x="294243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FF87792-0038-E245-A756-AFA193BEC33C}"/>
                </a:ext>
              </a:extLst>
            </p:cNvPr>
            <p:cNvSpPr/>
            <p:nvPr userDrawn="1"/>
          </p:nvSpPr>
          <p:spPr>
            <a:xfrm>
              <a:off x="422314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63EA47D-7036-6149-BFDD-AE64B4F0440E}"/>
                </a:ext>
              </a:extLst>
            </p:cNvPr>
            <p:cNvSpPr/>
            <p:nvPr userDrawn="1"/>
          </p:nvSpPr>
          <p:spPr>
            <a:xfrm>
              <a:off x="550386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4CBC1BB-E618-4143-8102-0EE9DB6F72F6}"/>
                </a:ext>
              </a:extLst>
            </p:cNvPr>
            <p:cNvSpPr/>
            <p:nvPr userDrawn="1"/>
          </p:nvSpPr>
          <p:spPr>
            <a:xfrm>
              <a:off x="6784581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6302F22-33DC-404D-B9F7-4999125BE1C0}"/>
                </a:ext>
              </a:extLst>
            </p:cNvPr>
            <p:cNvSpPr/>
            <p:nvPr userDrawn="1"/>
          </p:nvSpPr>
          <p:spPr>
            <a:xfrm>
              <a:off x="806529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3913E2F-D6C7-6E4C-AF84-F30990D1C5F1}"/>
                </a:ext>
              </a:extLst>
            </p:cNvPr>
            <p:cNvSpPr/>
            <p:nvPr userDrawn="1"/>
          </p:nvSpPr>
          <p:spPr>
            <a:xfrm>
              <a:off x="934320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8F6AD2D-9784-F642-A106-04B3A189A305}"/>
                </a:ext>
              </a:extLst>
            </p:cNvPr>
            <p:cNvSpPr/>
            <p:nvPr userDrawn="1"/>
          </p:nvSpPr>
          <p:spPr>
            <a:xfrm>
              <a:off x="934320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5BAA71B-3977-2C45-BFCD-DD42EE282F3A}"/>
                </a:ext>
              </a:extLst>
            </p:cNvPr>
            <p:cNvSpPr/>
            <p:nvPr userDrawn="1"/>
          </p:nvSpPr>
          <p:spPr>
            <a:xfrm>
              <a:off x="934320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09A6B8D-0BC6-844C-98BC-26714B74B89C}"/>
                </a:ext>
              </a:extLst>
            </p:cNvPr>
            <p:cNvSpPr/>
            <p:nvPr userDrawn="1"/>
          </p:nvSpPr>
          <p:spPr>
            <a:xfrm>
              <a:off x="934320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F3FD9C-200A-6341-94B3-0C1EB6DACAB0}"/>
                </a:ext>
              </a:extLst>
            </p:cNvPr>
            <p:cNvSpPr/>
            <p:nvPr userDrawn="1"/>
          </p:nvSpPr>
          <p:spPr>
            <a:xfrm>
              <a:off x="1062110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8373EE-C7AD-A948-BF2D-EFDCBD86A63D}"/>
                </a:ext>
              </a:extLst>
            </p:cNvPr>
            <p:cNvSpPr/>
            <p:nvPr userDrawn="1"/>
          </p:nvSpPr>
          <p:spPr>
            <a:xfrm>
              <a:off x="1062110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D9BF3B8-1553-CB43-861A-0C55AC833BFD}"/>
                </a:ext>
              </a:extLst>
            </p:cNvPr>
            <p:cNvSpPr/>
            <p:nvPr userDrawn="1"/>
          </p:nvSpPr>
          <p:spPr>
            <a:xfrm>
              <a:off x="1062110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6D0F4D3-BA10-E141-99A5-7B49C20DF11A}"/>
                </a:ext>
              </a:extLst>
            </p:cNvPr>
            <p:cNvSpPr/>
            <p:nvPr userDrawn="1"/>
          </p:nvSpPr>
          <p:spPr>
            <a:xfrm>
              <a:off x="1062110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</p:grpSp>
      <p:sp>
        <p:nvSpPr>
          <p:cNvPr id="37" name="Freeform 69">
            <a:extLst>
              <a:ext uri="{FF2B5EF4-FFF2-40B4-BE49-F238E27FC236}">
                <a16:creationId xmlns:a16="http://schemas.microsoft.com/office/drawing/2014/main" id="{3634B592-2BB6-5C4B-A72F-5EE93BA6F81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25653" y="1967482"/>
            <a:ext cx="499664" cy="424950"/>
          </a:xfrm>
          <a:custGeom>
            <a:avLst/>
            <a:gdLst>
              <a:gd name="T0" fmla="*/ 90 w 289"/>
              <a:gd name="T1" fmla="*/ 246 h 246"/>
              <a:gd name="T2" fmla="*/ 86 w 289"/>
              <a:gd name="T3" fmla="*/ 244 h 246"/>
              <a:gd name="T4" fmla="*/ 2 w 289"/>
              <a:gd name="T5" fmla="*/ 160 h 246"/>
              <a:gd name="T6" fmla="*/ 2 w 289"/>
              <a:gd name="T7" fmla="*/ 152 h 246"/>
              <a:gd name="T8" fmla="*/ 44 w 289"/>
              <a:gd name="T9" fmla="*/ 110 h 246"/>
              <a:gd name="T10" fmla="*/ 53 w 289"/>
              <a:gd name="T11" fmla="*/ 110 h 246"/>
              <a:gd name="T12" fmla="*/ 90 w 289"/>
              <a:gd name="T13" fmla="*/ 148 h 246"/>
              <a:gd name="T14" fmla="*/ 236 w 289"/>
              <a:gd name="T15" fmla="*/ 2 h 246"/>
              <a:gd name="T16" fmla="*/ 245 w 289"/>
              <a:gd name="T17" fmla="*/ 2 h 246"/>
              <a:gd name="T18" fmla="*/ 287 w 289"/>
              <a:gd name="T19" fmla="*/ 44 h 246"/>
              <a:gd name="T20" fmla="*/ 287 w 289"/>
              <a:gd name="T21" fmla="*/ 52 h 246"/>
              <a:gd name="T22" fmla="*/ 95 w 289"/>
              <a:gd name="T23" fmla="*/ 244 h 246"/>
              <a:gd name="T24" fmla="*/ 90 w 289"/>
              <a:gd name="T25" fmla="*/ 246 h 246"/>
              <a:gd name="T26" fmla="*/ 15 w 289"/>
              <a:gd name="T27" fmla="*/ 156 h 246"/>
              <a:gd name="T28" fmla="*/ 90 w 289"/>
              <a:gd name="T29" fmla="*/ 232 h 246"/>
              <a:gd name="T30" fmla="*/ 274 w 289"/>
              <a:gd name="T31" fmla="*/ 48 h 246"/>
              <a:gd name="T32" fmla="*/ 240 w 289"/>
              <a:gd name="T33" fmla="*/ 15 h 246"/>
              <a:gd name="T34" fmla="*/ 95 w 289"/>
              <a:gd name="T35" fmla="*/ 160 h 246"/>
              <a:gd name="T36" fmla="*/ 86 w 289"/>
              <a:gd name="T37" fmla="*/ 160 h 246"/>
              <a:gd name="T38" fmla="*/ 48 w 289"/>
              <a:gd name="T39" fmla="*/ 123 h 246"/>
              <a:gd name="T40" fmla="*/ 15 w 289"/>
              <a:gd name="T41" fmla="*/ 1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46">
                <a:moveTo>
                  <a:pt x="90" y="246"/>
                </a:moveTo>
                <a:cubicBezTo>
                  <a:pt x="89" y="246"/>
                  <a:pt x="87" y="246"/>
                  <a:pt x="86" y="244"/>
                </a:cubicBezTo>
                <a:cubicBezTo>
                  <a:pt x="2" y="160"/>
                  <a:pt x="2" y="160"/>
                  <a:pt x="2" y="160"/>
                </a:cubicBezTo>
                <a:cubicBezTo>
                  <a:pt x="0" y="158"/>
                  <a:pt x="0" y="154"/>
                  <a:pt x="2" y="152"/>
                </a:cubicBezTo>
                <a:cubicBezTo>
                  <a:pt x="44" y="110"/>
                  <a:pt x="44" y="110"/>
                  <a:pt x="44" y="110"/>
                </a:cubicBezTo>
                <a:cubicBezTo>
                  <a:pt x="47" y="108"/>
                  <a:pt x="50" y="108"/>
                  <a:pt x="53" y="110"/>
                </a:cubicBezTo>
                <a:cubicBezTo>
                  <a:pt x="90" y="148"/>
                  <a:pt x="90" y="148"/>
                  <a:pt x="90" y="148"/>
                </a:cubicBezTo>
                <a:cubicBezTo>
                  <a:pt x="236" y="2"/>
                  <a:pt x="236" y="2"/>
                  <a:pt x="236" y="2"/>
                </a:cubicBezTo>
                <a:cubicBezTo>
                  <a:pt x="239" y="0"/>
                  <a:pt x="242" y="0"/>
                  <a:pt x="245" y="2"/>
                </a:cubicBezTo>
                <a:cubicBezTo>
                  <a:pt x="287" y="44"/>
                  <a:pt x="287" y="44"/>
                  <a:pt x="287" y="44"/>
                </a:cubicBezTo>
                <a:cubicBezTo>
                  <a:pt x="289" y="46"/>
                  <a:pt x="289" y="50"/>
                  <a:pt x="287" y="52"/>
                </a:cubicBezTo>
                <a:cubicBezTo>
                  <a:pt x="95" y="244"/>
                  <a:pt x="95" y="244"/>
                  <a:pt x="95" y="244"/>
                </a:cubicBezTo>
                <a:cubicBezTo>
                  <a:pt x="94" y="246"/>
                  <a:pt x="92" y="246"/>
                  <a:pt x="90" y="246"/>
                </a:cubicBezTo>
                <a:close/>
                <a:moveTo>
                  <a:pt x="15" y="156"/>
                </a:moveTo>
                <a:cubicBezTo>
                  <a:pt x="90" y="232"/>
                  <a:pt x="90" y="232"/>
                  <a:pt x="90" y="232"/>
                </a:cubicBezTo>
                <a:cubicBezTo>
                  <a:pt x="274" y="48"/>
                  <a:pt x="274" y="48"/>
                  <a:pt x="274" y="48"/>
                </a:cubicBezTo>
                <a:cubicBezTo>
                  <a:pt x="240" y="15"/>
                  <a:pt x="240" y="15"/>
                  <a:pt x="240" y="15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2" y="163"/>
                  <a:pt x="89" y="163"/>
                  <a:pt x="86" y="160"/>
                </a:cubicBezTo>
                <a:cubicBezTo>
                  <a:pt x="48" y="123"/>
                  <a:pt x="48" y="123"/>
                  <a:pt x="48" y="123"/>
                </a:cubicBezTo>
                <a:lnTo>
                  <a:pt x="15" y="1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91" name="Group 98">
            <a:extLst>
              <a:ext uri="{FF2B5EF4-FFF2-40B4-BE49-F238E27FC236}">
                <a16:creationId xmlns:a16="http://schemas.microsoft.com/office/drawing/2014/main" id="{9AC922D9-7CEE-B448-86D3-66DA557B7FF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84826" y="5548256"/>
            <a:ext cx="448560" cy="372925"/>
            <a:chOff x="1371" y="1755"/>
            <a:chExt cx="427" cy="355"/>
          </a:xfrm>
          <a:solidFill>
            <a:schemeClr val="accent1"/>
          </a:solidFill>
        </p:grpSpPr>
        <p:sp>
          <p:nvSpPr>
            <p:cNvPr id="92" name="Freeform 99">
              <a:extLst>
                <a:ext uri="{FF2B5EF4-FFF2-40B4-BE49-F238E27FC236}">
                  <a16:creationId xmlns:a16="http://schemas.microsoft.com/office/drawing/2014/main" id="{6DD3FF56-53E8-3945-A690-6D0C81F64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" y="1755"/>
              <a:ext cx="427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5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B9DD30D6-7FC5-4E4B-AA29-A488CEB79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1790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0 w 48"/>
                <a:gd name="T5" fmla="*/ 6 h 48"/>
                <a:gd name="T6" fmla="*/ 6 w 48"/>
                <a:gd name="T7" fmla="*/ 0 h 48"/>
                <a:gd name="T8" fmla="*/ 42 w 48"/>
                <a:gd name="T9" fmla="*/ 0 h 48"/>
                <a:gd name="T10" fmla="*/ 48 w 48"/>
                <a:gd name="T11" fmla="*/ 6 h 48"/>
                <a:gd name="T12" fmla="*/ 42 w 48"/>
                <a:gd name="T13" fmla="*/ 12 h 48"/>
                <a:gd name="T14" fmla="*/ 12 w 48"/>
                <a:gd name="T15" fmla="*/ 12 h 48"/>
                <a:gd name="T16" fmla="*/ 12 w 48"/>
                <a:gd name="T17" fmla="*/ 42 h 48"/>
                <a:gd name="T18" fmla="*/ 6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B598F935-A581-034B-89D4-127294EC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1790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36 w 48"/>
                <a:gd name="T3" fmla="*/ 42 h 48"/>
                <a:gd name="T4" fmla="*/ 36 w 48"/>
                <a:gd name="T5" fmla="*/ 12 h 48"/>
                <a:gd name="T6" fmla="*/ 6 w 48"/>
                <a:gd name="T7" fmla="*/ 12 h 48"/>
                <a:gd name="T8" fmla="*/ 0 w 48"/>
                <a:gd name="T9" fmla="*/ 6 h 48"/>
                <a:gd name="T10" fmla="*/ 6 w 48"/>
                <a:gd name="T11" fmla="*/ 0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39" y="48"/>
                    <a:pt x="36" y="45"/>
                    <a:pt x="36" y="4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24EC5BA8-8063-3241-A2BA-5D3F0C810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12 w 48"/>
                <a:gd name="T11" fmla="*/ 6 h 48"/>
                <a:gd name="T12" fmla="*/ 12 w 48"/>
                <a:gd name="T13" fmla="*/ 36 h 48"/>
                <a:gd name="T14" fmla="*/ 42 w 48"/>
                <a:gd name="T15" fmla="*/ 3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5" y="36"/>
                    <a:pt x="48" y="39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CF8C2DB6-381F-254A-B48E-15AFF4C7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6 w 48"/>
                <a:gd name="T7" fmla="*/ 36 h 48"/>
                <a:gd name="T8" fmla="*/ 36 w 48"/>
                <a:gd name="T9" fmla="*/ 36 h 48"/>
                <a:gd name="T10" fmla="*/ 36 w 48"/>
                <a:gd name="T11" fmla="*/ 6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0667E557-C3C5-454F-BFFD-0892A85D1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844"/>
              <a:ext cx="286" cy="177"/>
            </a:xfrm>
            <a:custGeom>
              <a:avLst/>
              <a:gdLst>
                <a:gd name="T0" fmla="*/ 97 w 193"/>
                <a:gd name="T1" fmla="*/ 120 h 120"/>
                <a:gd name="T2" fmla="*/ 2 w 193"/>
                <a:gd name="T3" fmla="*/ 64 h 120"/>
                <a:gd name="T4" fmla="*/ 2 w 193"/>
                <a:gd name="T5" fmla="*/ 56 h 120"/>
                <a:gd name="T6" fmla="*/ 97 w 193"/>
                <a:gd name="T7" fmla="*/ 0 h 120"/>
                <a:gd name="T8" fmla="*/ 191 w 193"/>
                <a:gd name="T9" fmla="*/ 56 h 120"/>
                <a:gd name="T10" fmla="*/ 191 w 193"/>
                <a:gd name="T11" fmla="*/ 64 h 120"/>
                <a:gd name="T12" fmla="*/ 97 w 193"/>
                <a:gd name="T13" fmla="*/ 120 h 120"/>
                <a:gd name="T14" fmla="*/ 15 w 193"/>
                <a:gd name="T15" fmla="*/ 60 h 120"/>
                <a:gd name="T16" fmla="*/ 97 w 193"/>
                <a:gd name="T17" fmla="*/ 108 h 120"/>
                <a:gd name="T18" fmla="*/ 179 w 193"/>
                <a:gd name="T19" fmla="*/ 60 h 120"/>
                <a:gd name="T20" fmla="*/ 97 w 193"/>
                <a:gd name="T21" fmla="*/ 12 h 120"/>
                <a:gd name="T22" fmla="*/ 15 w 193"/>
                <a:gd name="T23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120">
                  <a:moveTo>
                    <a:pt x="97" y="120"/>
                  </a:moveTo>
                  <a:cubicBezTo>
                    <a:pt x="53" y="120"/>
                    <a:pt x="4" y="66"/>
                    <a:pt x="2" y="64"/>
                  </a:cubicBezTo>
                  <a:cubicBezTo>
                    <a:pt x="0" y="62"/>
                    <a:pt x="0" y="58"/>
                    <a:pt x="2" y="56"/>
                  </a:cubicBezTo>
                  <a:cubicBezTo>
                    <a:pt x="4" y="54"/>
                    <a:pt x="53" y="0"/>
                    <a:pt x="97" y="0"/>
                  </a:cubicBezTo>
                  <a:cubicBezTo>
                    <a:pt x="141" y="0"/>
                    <a:pt x="189" y="54"/>
                    <a:pt x="191" y="56"/>
                  </a:cubicBezTo>
                  <a:cubicBezTo>
                    <a:pt x="193" y="58"/>
                    <a:pt x="193" y="62"/>
                    <a:pt x="191" y="64"/>
                  </a:cubicBezTo>
                  <a:cubicBezTo>
                    <a:pt x="189" y="66"/>
                    <a:pt x="141" y="120"/>
                    <a:pt x="97" y="120"/>
                  </a:cubicBezTo>
                  <a:close/>
                  <a:moveTo>
                    <a:pt x="15" y="60"/>
                  </a:moveTo>
                  <a:cubicBezTo>
                    <a:pt x="27" y="72"/>
                    <a:pt x="64" y="108"/>
                    <a:pt x="97" y="108"/>
                  </a:cubicBezTo>
                  <a:cubicBezTo>
                    <a:pt x="129" y="108"/>
                    <a:pt x="167" y="72"/>
                    <a:pt x="179" y="60"/>
                  </a:cubicBezTo>
                  <a:cubicBezTo>
                    <a:pt x="167" y="48"/>
                    <a:pt x="129" y="12"/>
                    <a:pt x="97" y="12"/>
                  </a:cubicBezTo>
                  <a:cubicBezTo>
                    <a:pt x="64" y="12"/>
                    <a:pt x="27" y="48"/>
                    <a:pt x="1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3BB22AA7-DF3C-C443-90C8-1FB2B5423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1" y="1879"/>
              <a:ext cx="107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9" name="Oval 106">
              <a:extLst>
                <a:ext uri="{FF2B5EF4-FFF2-40B4-BE49-F238E27FC236}">
                  <a16:creationId xmlns:a16="http://schemas.microsoft.com/office/drawing/2014/main" id="{840F5257-5088-364D-878D-3C2254FB2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" y="1915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11" name="Group 41">
            <a:extLst>
              <a:ext uri="{FF2B5EF4-FFF2-40B4-BE49-F238E27FC236}">
                <a16:creationId xmlns:a16="http://schemas.microsoft.com/office/drawing/2014/main" id="{CAE15CC3-F3B0-4346-93C0-B55CF26740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95631" y="5524348"/>
            <a:ext cx="459581" cy="420743"/>
            <a:chOff x="3439" y="460"/>
            <a:chExt cx="426" cy="390"/>
          </a:xfrm>
          <a:solidFill>
            <a:schemeClr val="accent1"/>
          </a:solidFill>
        </p:grpSpPr>
        <p:sp>
          <p:nvSpPr>
            <p:cNvPr id="112" name="Freeform 42">
              <a:extLst>
                <a:ext uri="{FF2B5EF4-FFF2-40B4-BE49-F238E27FC236}">
                  <a16:creationId xmlns:a16="http://schemas.microsoft.com/office/drawing/2014/main" id="{FC866253-99F8-F940-8BD2-B8A0B5BAB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584"/>
              <a:ext cx="426" cy="266"/>
            </a:xfrm>
            <a:custGeom>
              <a:avLst/>
              <a:gdLst>
                <a:gd name="T0" fmla="*/ 265 w 288"/>
                <a:gd name="T1" fmla="*/ 180 h 180"/>
                <a:gd name="T2" fmla="*/ 23 w 288"/>
                <a:gd name="T3" fmla="*/ 180 h 180"/>
                <a:gd name="T4" fmla="*/ 0 w 288"/>
                <a:gd name="T5" fmla="*/ 157 h 180"/>
                <a:gd name="T6" fmla="*/ 0 w 288"/>
                <a:gd name="T7" fmla="*/ 6 h 180"/>
                <a:gd name="T8" fmla="*/ 6 w 288"/>
                <a:gd name="T9" fmla="*/ 0 h 180"/>
                <a:gd name="T10" fmla="*/ 282 w 288"/>
                <a:gd name="T11" fmla="*/ 0 h 180"/>
                <a:gd name="T12" fmla="*/ 288 w 288"/>
                <a:gd name="T13" fmla="*/ 6 h 180"/>
                <a:gd name="T14" fmla="*/ 288 w 288"/>
                <a:gd name="T15" fmla="*/ 157 h 180"/>
                <a:gd name="T16" fmla="*/ 265 w 288"/>
                <a:gd name="T17" fmla="*/ 180 h 180"/>
                <a:gd name="T18" fmla="*/ 12 w 288"/>
                <a:gd name="T19" fmla="*/ 12 h 180"/>
                <a:gd name="T20" fmla="*/ 12 w 288"/>
                <a:gd name="T21" fmla="*/ 157 h 180"/>
                <a:gd name="T22" fmla="*/ 23 w 288"/>
                <a:gd name="T23" fmla="*/ 168 h 180"/>
                <a:gd name="T24" fmla="*/ 265 w 288"/>
                <a:gd name="T25" fmla="*/ 168 h 180"/>
                <a:gd name="T26" fmla="*/ 276 w 288"/>
                <a:gd name="T27" fmla="*/ 157 h 180"/>
                <a:gd name="T28" fmla="*/ 276 w 288"/>
                <a:gd name="T29" fmla="*/ 12 h 180"/>
                <a:gd name="T30" fmla="*/ 12 w 288"/>
                <a:gd name="T31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180">
                  <a:moveTo>
                    <a:pt x="265" y="180"/>
                  </a:moveTo>
                  <a:cubicBezTo>
                    <a:pt x="23" y="180"/>
                    <a:pt x="23" y="180"/>
                    <a:pt x="23" y="180"/>
                  </a:cubicBezTo>
                  <a:cubicBezTo>
                    <a:pt x="10" y="180"/>
                    <a:pt x="0" y="170"/>
                    <a:pt x="0" y="15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57"/>
                    <a:pt x="288" y="157"/>
                    <a:pt x="288" y="157"/>
                  </a:cubicBezTo>
                  <a:cubicBezTo>
                    <a:pt x="288" y="170"/>
                    <a:pt x="277" y="180"/>
                    <a:pt x="265" y="180"/>
                  </a:cubicBezTo>
                  <a:close/>
                  <a:moveTo>
                    <a:pt x="12" y="12"/>
                  </a:moveTo>
                  <a:cubicBezTo>
                    <a:pt x="12" y="157"/>
                    <a:pt x="12" y="157"/>
                    <a:pt x="12" y="157"/>
                  </a:cubicBezTo>
                  <a:cubicBezTo>
                    <a:pt x="12" y="163"/>
                    <a:pt x="17" y="168"/>
                    <a:pt x="23" y="168"/>
                  </a:cubicBezTo>
                  <a:cubicBezTo>
                    <a:pt x="265" y="168"/>
                    <a:pt x="265" y="168"/>
                    <a:pt x="265" y="168"/>
                  </a:cubicBezTo>
                  <a:cubicBezTo>
                    <a:pt x="271" y="168"/>
                    <a:pt x="276" y="163"/>
                    <a:pt x="276" y="157"/>
                  </a:cubicBezTo>
                  <a:cubicBezTo>
                    <a:pt x="276" y="12"/>
                    <a:pt x="276" y="12"/>
                    <a:pt x="276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3" name="Freeform 43">
              <a:extLst>
                <a:ext uri="{FF2B5EF4-FFF2-40B4-BE49-F238E27FC236}">
                  <a16:creationId xmlns:a16="http://schemas.microsoft.com/office/drawing/2014/main" id="{DAD71534-CAEB-4342-9B3B-ACB93687E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" y="637"/>
              <a:ext cx="160" cy="160"/>
            </a:xfrm>
            <a:custGeom>
              <a:avLst/>
              <a:gdLst>
                <a:gd name="T0" fmla="*/ 6 w 108"/>
                <a:gd name="T1" fmla="*/ 108 h 108"/>
                <a:gd name="T2" fmla="*/ 3 w 108"/>
                <a:gd name="T3" fmla="*/ 107 h 108"/>
                <a:gd name="T4" fmla="*/ 0 w 108"/>
                <a:gd name="T5" fmla="*/ 102 h 108"/>
                <a:gd name="T6" fmla="*/ 0 w 108"/>
                <a:gd name="T7" fmla="*/ 6 h 108"/>
                <a:gd name="T8" fmla="*/ 3 w 108"/>
                <a:gd name="T9" fmla="*/ 1 h 108"/>
                <a:gd name="T10" fmla="*/ 9 w 108"/>
                <a:gd name="T11" fmla="*/ 1 h 108"/>
                <a:gd name="T12" fmla="*/ 105 w 108"/>
                <a:gd name="T13" fmla="*/ 49 h 108"/>
                <a:gd name="T14" fmla="*/ 108 w 108"/>
                <a:gd name="T15" fmla="*/ 54 h 108"/>
                <a:gd name="T16" fmla="*/ 105 w 108"/>
                <a:gd name="T17" fmla="*/ 60 h 108"/>
                <a:gd name="T18" fmla="*/ 9 w 108"/>
                <a:gd name="T19" fmla="*/ 108 h 108"/>
                <a:gd name="T20" fmla="*/ 6 w 108"/>
                <a:gd name="T21" fmla="*/ 108 h 108"/>
                <a:gd name="T22" fmla="*/ 12 w 108"/>
                <a:gd name="T23" fmla="*/ 16 h 108"/>
                <a:gd name="T24" fmla="*/ 12 w 108"/>
                <a:gd name="T25" fmla="*/ 93 h 108"/>
                <a:gd name="T26" fmla="*/ 88 w 108"/>
                <a:gd name="T27" fmla="*/ 54 h 108"/>
                <a:gd name="T28" fmla="*/ 12 w 108"/>
                <a:gd name="T29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108">
                  <a:moveTo>
                    <a:pt x="6" y="108"/>
                  </a:moveTo>
                  <a:cubicBezTo>
                    <a:pt x="5" y="108"/>
                    <a:pt x="4" y="108"/>
                    <a:pt x="3" y="107"/>
                  </a:cubicBezTo>
                  <a:cubicBezTo>
                    <a:pt x="1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0"/>
                    <a:pt x="108" y="52"/>
                    <a:pt x="108" y="54"/>
                  </a:cubicBezTo>
                  <a:cubicBezTo>
                    <a:pt x="108" y="57"/>
                    <a:pt x="107" y="59"/>
                    <a:pt x="105" y="60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7" y="108"/>
                    <a:pt x="6" y="108"/>
                  </a:cubicBezTo>
                  <a:close/>
                  <a:moveTo>
                    <a:pt x="12" y="16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88" y="54"/>
                    <a:pt x="88" y="54"/>
                    <a:pt x="88" y="54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69604E24-F016-194E-9E2B-1ACF8EBA5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460"/>
              <a:ext cx="426" cy="106"/>
            </a:xfrm>
            <a:custGeom>
              <a:avLst/>
              <a:gdLst>
                <a:gd name="T0" fmla="*/ 282 w 288"/>
                <a:gd name="T1" fmla="*/ 72 h 72"/>
                <a:gd name="T2" fmla="*/ 6 w 288"/>
                <a:gd name="T3" fmla="*/ 72 h 72"/>
                <a:gd name="T4" fmla="*/ 0 w 288"/>
                <a:gd name="T5" fmla="*/ 66 h 72"/>
                <a:gd name="T6" fmla="*/ 0 w 288"/>
                <a:gd name="T7" fmla="*/ 18 h 72"/>
                <a:gd name="T8" fmla="*/ 18 w 288"/>
                <a:gd name="T9" fmla="*/ 0 h 72"/>
                <a:gd name="T10" fmla="*/ 270 w 288"/>
                <a:gd name="T11" fmla="*/ 0 h 72"/>
                <a:gd name="T12" fmla="*/ 288 w 288"/>
                <a:gd name="T13" fmla="*/ 18 h 72"/>
                <a:gd name="T14" fmla="*/ 288 w 288"/>
                <a:gd name="T15" fmla="*/ 66 h 72"/>
                <a:gd name="T16" fmla="*/ 282 w 288"/>
                <a:gd name="T17" fmla="*/ 72 h 72"/>
                <a:gd name="T18" fmla="*/ 12 w 288"/>
                <a:gd name="T19" fmla="*/ 60 h 72"/>
                <a:gd name="T20" fmla="*/ 276 w 288"/>
                <a:gd name="T21" fmla="*/ 60 h 72"/>
                <a:gd name="T22" fmla="*/ 276 w 288"/>
                <a:gd name="T23" fmla="*/ 18 h 72"/>
                <a:gd name="T24" fmla="*/ 270 w 288"/>
                <a:gd name="T25" fmla="*/ 12 h 72"/>
                <a:gd name="T26" fmla="*/ 18 w 288"/>
                <a:gd name="T27" fmla="*/ 12 h 72"/>
                <a:gd name="T28" fmla="*/ 12 w 288"/>
                <a:gd name="T29" fmla="*/ 18 h 72"/>
                <a:gd name="T30" fmla="*/ 12 w 288"/>
                <a:gd name="T31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72">
                  <a:moveTo>
                    <a:pt x="28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80" y="0"/>
                    <a:pt x="288" y="8"/>
                    <a:pt x="288" y="18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70"/>
                    <a:pt x="285" y="72"/>
                    <a:pt x="282" y="72"/>
                  </a:cubicBezTo>
                  <a:close/>
                  <a:moveTo>
                    <a:pt x="12" y="60"/>
                  </a:moveTo>
                  <a:cubicBezTo>
                    <a:pt x="276" y="60"/>
                    <a:pt x="276" y="60"/>
                    <a:pt x="276" y="60"/>
                  </a:cubicBezTo>
                  <a:cubicBezTo>
                    <a:pt x="276" y="18"/>
                    <a:pt x="276" y="18"/>
                    <a:pt x="276" y="18"/>
                  </a:cubicBezTo>
                  <a:cubicBezTo>
                    <a:pt x="276" y="15"/>
                    <a:pt x="273" y="12"/>
                    <a:pt x="27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0272F795-CB5C-EC40-AB73-8271C831B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2" y="463"/>
              <a:ext cx="92" cy="91"/>
            </a:xfrm>
            <a:custGeom>
              <a:avLst/>
              <a:gdLst>
                <a:gd name="T0" fmla="*/ 12 w 92"/>
                <a:gd name="T1" fmla="*/ 91 h 91"/>
                <a:gd name="T2" fmla="*/ 0 w 92"/>
                <a:gd name="T3" fmla="*/ 80 h 91"/>
                <a:gd name="T4" fmla="*/ 80 w 92"/>
                <a:gd name="T5" fmla="*/ 0 h 91"/>
                <a:gd name="T6" fmla="*/ 92 w 92"/>
                <a:gd name="T7" fmla="*/ 11 h 91"/>
                <a:gd name="T8" fmla="*/ 12 w 9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1">
                  <a:moveTo>
                    <a:pt x="12" y="91"/>
                  </a:moveTo>
                  <a:lnTo>
                    <a:pt x="0" y="80"/>
                  </a:lnTo>
                  <a:lnTo>
                    <a:pt x="80" y="0"/>
                  </a:lnTo>
                  <a:lnTo>
                    <a:pt x="92" y="11"/>
                  </a:lnTo>
                  <a:lnTo>
                    <a:pt x="1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6" name="Freeform 46">
              <a:extLst>
                <a:ext uri="{FF2B5EF4-FFF2-40B4-BE49-F238E27FC236}">
                  <a16:creationId xmlns:a16="http://schemas.microsoft.com/office/drawing/2014/main" id="{58894E59-5B8C-E746-BE36-282800DC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7" name="Freeform 47">
              <a:extLst>
                <a:ext uri="{FF2B5EF4-FFF2-40B4-BE49-F238E27FC236}">
                  <a16:creationId xmlns:a16="http://schemas.microsoft.com/office/drawing/2014/main" id="{89C3B5C2-0698-134A-8C5B-F8C984B3D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6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8" name="Freeform 48">
              <a:extLst>
                <a:ext uri="{FF2B5EF4-FFF2-40B4-BE49-F238E27FC236}">
                  <a16:creationId xmlns:a16="http://schemas.microsoft.com/office/drawing/2014/main" id="{98ED0FAF-2170-CC4B-893D-B4DFEB1E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9" name="Freeform 49">
              <a:extLst>
                <a:ext uri="{FF2B5EF4-FFF2-40B4-BE49-F238E27FC236}">
                  <a16:creationId xmlns:a16="http://schemas.microsoft.com/office/drawing/2014/main" id="{E93B3885-01CD-824B-9BBD-D9A7BC87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" y="463"/>
              <a:ext cx="100" cy="100"/>
            </a:xfrm>
            <a:custGeom>
              <a:avLst/>
              <a:gdLst>
                <a:gd name="T0" fmla="*/ 12 w 100"/>
                <a:gd name="T1" fmla="*/ 100 h 100"/>
                <a:gd name="T2" fmla="*/ 0 w 100"/>
                <a:gd name="T3" fmla="*/ 88 h 100"/>
                <a:gd name="T4" fmla="*/ 89 w 100"/>
                <a:gd name="T5" fmla="*/ 0 h 100"/>
                <a:gd name="T6" fmla="*/ 100 w 100"/>
                <a:gd name="T7" fmla="*/ 11 h 100"/>
                <a:gd name="T8" fmla="*/ 12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12" y="100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0" y="11"/>
                  </a:lnTo>
                  <a:lnTo>
                    <a:pt x="12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20" name="Freeform 50">
              <a:extLst>
                <a:ext uri="{FF2B5EF4-FFF2-40B4-BE49-F238E27FC236}">
                  <a16:creationId xmlns:a16="http://schemas.microsoft.com/office/drawing/2014/main" id="{4B94C46B-FB83-4F43-83C7-AC36E95C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" y="480"/>
              <a:ext cx="83" cy="83"/>
            </a:xfrm>
            <a:custGeom>
              <a:avLst/>
              <a:gdLst>
                <a:gd name="T0" fmla="*/ 12 w 83"/>
                <a:gd name="T1" fmla="*/ 83 h 83"/>
                <a:gd name="T2" fmla="*/ 0 w 83"/>
                <a:gd name="T3" fmla="*/ 71 h 83"/>
                <a:gd name="T4" fmla="*/ 71 w 83"/>
                <a:gd name="T5" fmla="*/ 0 h 83"/>
                <a:gd name="T6" fmla="*/ 83 w 83"/>
                <a:gd name="T7" fmla="*/ 12 h 83"/>
                <a:gd name="T8" fmla="*/ 12 w 83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3">
                  <a:moveTo>
                    <a:pt x="12" y="83"/>
                  </a:moveTo>
                  <a:lnTo>
                    <a:pt x="0" y="71"/>
                  </a:lnTo>
                  <a:lnTo>
                    <a:pt x="71" y="0"/>
                  </a:lnTo>
                  <a:lnTo>
                    <a:pt x="83" y="12"/>
                  </a:lnTo>
                  <a:lnTo>
                    <a:pt x="12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21" name="Group 10">
            <a:extLst>
              <a:ext uri="{FF2B5EF4-FFF2-40B4-BE49-F238E27FC236}">
                <a16:creationId xmlns:a16="http://schemas.microsoft.com/office/drawing/2014/main" id="{EDE454D0-8C87-B549-B592-7DDDDDA65FA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65185" y="5500310"/>
            <a:ext cx="467720" cy="468818"/>
            <a:chOff x="1374" y="442"/>
            <a:chExt cx="425" cy="426"/>
          </a:xfrm>
          <a:solidFill>
            <a:schemeClr val="accent1"/>
          </a:solidFill>
        </p:grpSpPr>
        <p:sp>
          <p:nvSpPr>
            <p:cNvPr id="122" name="Freeform 11">
              <a:extLst>
                <a:ext uri="{FF2B5EF4-FFF2-40B4-BE49-F238E27FC236}">
                  <a16:creationId xmlns:a16="http://schemas.microsoft.com/office/drawing/2014/main" id="{81B4BA5C-5D57-5243-95A0-B0939E103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44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3" name="Freeform 12">
              <a:extLst>
                <a:ext uri="{FF2B5EF4-FFF2-40B4-BE49-F238E27FC236}">
                  <a16:creationId xmlns:a16="http://schemas.microsoft.com/office/drawing/2014/main" id="{DBE386C7-E758-5C4A-95CF-157D349ABD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" y="565"/>
              <a:ext cx="177" cy="179"/>
            </a:xfrm>
            <a:custGeom>
              <a:avLst/>
              <a:gdLst>
                <a:gd name="T0" fmla="*/ 6 w 120"/>
                <a:gd name="T1" fmla="*/ 121 h 121"/>
                <a:gd name="T2" fmla="*/ 2 w 120"/>
                <a:gd name="T3" fmla="*/ 120 h 121"/>
                <a:gd name="T4" fmla="*/ 0 w 120"/>
                <a:gd name="T5" fmla="*/ 115 h 121"/>
                <a:gd name="T6" fmla="*/ 0 w 120"/>
                <a:gd name="T7" fmla="*/ 7 h 121"/>
                <a:gd name="T8" fmla="*/ 2 w 120"/>
                <a:gd name="T9" fmla="*/ 2 h 121"/>
                <a:gd name="T10" fmla="*/ 8 w 120"/>
                <a:gd name="T11" fmla="*/ 1 h 121"/>
                <a:gd name="T12" fmla="*/ 116 w 120"/>
                <a:gd name="T13" fmla="*/ 55 h 121"/>
                <a:gd name="T14" fmla="*/ 120 w 120"/>
                <a:gd name="T15" fmla="*/ 61 h 121"/>
                <a:gd name="T16" fmla="*/ 116 w 120"/>
                <a:gd name="T17" fmla="*/ 66 h 121"/>
                <a:gd name="T18" fmla="*/ 8 w 120"/>
                <a:gd name="T19" fmla="*/ 120 h 121"/>
                <a:gd name="T20" fmla="*/ 6 w 120"/>
                <a:gd name="T21" fmla="*/ 121 h 121"/>
                <a:gd name="T22" fmla="*/ 12 w 120"/>
                <a:gd name="T23" fmla="*/ 16 h 121"/>
                <a:gd name="T24" fmla="*/ 12 w 120"/>
                <a:gd name="T25" fmla="*/ 105 h 121"/>
                <a:gd name="T26" fmla="*/ 100 w 120"/>
                <a:gd name="T27" fmla="*/ 61 h 121"/>
                <a:gd name="T28" fmla="*/ 12 w 120"/>
                <a:gd name="T29" fmla="*/ 1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1">
                  <a:moveTo>
                    <a:pt x="6" y="121"/>
                  </a:moveTo>
                  <a:cubicBezTo>
                    <a:pt x="5" y="121"/>
                    <a:pt x="3" y="120"/>
                    <a:pt x="2" y="120"/>
                  </a:cubicBezTo>
                  <a:cubicBezTo>
                    <a:pt x="1" y="119"/>
                    <a:pt x="0" y="117"/>
                    <a:pt x="0" y="11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8" y="56"/>
                    <a:pt x="120" y="58"/>
                    <a:pt x="120" y="61"/>
                  </a:cubicBezTo>
                  <a:cubicBezTo>
                    <a:pt x="120" y="63"/>
                    <a:pt x="118" y="65"/>
                    <a:pt x="116" y="66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7" y="120"/>
                    <a:pt x="7" y="121"/>
                    <a:pt x="6" y="121"/>
                  </a:cubicBezTo>
                  <a:close/>
                  <a:moveTo>
                    <a:pt x="12" y="16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00" y="61"/>
                    <a:pt x="100" y="61"/>
                    <a:pt x="100" y="61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24" name="Group 87">
            <a:extLst>
              <a:ext uri="{FF2B5EF4-FFF2-40B4-BE49-F238E27FC236}">
                <a16:creationId xmlns:a16="http://schemas.microsoft.com/office/drawing/2014/main" id="{6BDE5202-854C-CC41-965A-533F32430A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99644" y="1930124"/>
            <a:ext cx="499666" cy="499666"/>
            <a:chOff x="5510" y="1717"/>
            <a:chExt cx="428" cy="428"/>
          </a:xfrm>
          <a:solidFill>
            <a:schemeClr val="accent1"/>
          </a:solidFill>
        </p:grpSpPr>
        <p:sp>
          <p:nvSpPr>
            <p:cNvPr id="125" name="Freeform 88">
              <a:extLst>
                <a:ext uri="{FF2B5EF4-FFF2-40B4-BE49-F238E27FC236}">
                  <a16:creationId xmlns:a16="http://schemas.microsoft.com/office/drawing/2014/main" id="{5B0A10F8-A96B-5844-8703-D5883AC79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" y="1717"/>
              <a:ext cx="366" cy="339"/>
            </a:xfrm>
            <a:custGeom>
              <a:avLst/>
              <a:gdLst>
                <a:gd name="T0" fmla="*/ 66 w 247"/>
                <a:gd name="T1" fmla="*/ 229 h 229"/>
                <a:gd name="T2" fmla="*/ 62 w 247"/>
                <a:gd name="T3" fmla="*/ 227 h 229"/>
                <a:gd name="T4" fmla="*/ 2 w 247"/>
                <a:gd name="T5" fmla="*/ 167 h 229"/>
                <a:gd name="T6" fmla="*/ 2 w 247"/>
                <a:gd name="T7" fmla="*/ 159 h 229"/>
                <a:gd name="T8" fmla="*/ 10 w 247"/>
                <a:gd name="T9" fmla="*/ 159 h 229"/>
                <a:gd name="T10" fmla="*/ 66 w 247"/>
                <a:gd name="T11" fmla="*/ 214 h 229"/>
                <a:gd name="T12" fmla="*/ 235 w 247"/>
                <a:gd name="T13" fmla="*/ 3 h 229"/>
                <a:gd name="T14" fmla="*/ 244 w 247"/>
                <a:gd name="T15" fmla="*/ 3 h 229"/>
                <a:gd name="T16" fmla="*/ 245 w 247"/>
                <a:gd name="T17" fmla="*/ 11 h 229"/>
                <a:gd name="T18" fmla="*/ 71 w 247"/>
                <a:gd name="T19" fmla="*/ 227 h 229"/>
                <a:gd name="T20" fmla="*/ 66 w 247"/>
                <a:gd name="T21" fmla="*/ 229 h 229"/>
                <a:gd name="T22" fmla="*/ 66 w 247"/>
                <a:gd name="T2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229">
                  <a:moveTo>
                    <a:pt x="66" y="229"/>
                  </a:moveTo>
                  <a:cubicBezTo>
                    <a:pt x="65" y="229"/>
                    <a:pt x="63" y="229"/>
                    <a:pt x="62" y="22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0" y="165"/>
                    <a:pt x="0" y="161"/>
                    <a:pt x="2" y="159"/>
                  </a:cubicBezTo>
                  <a:cubicBezTo>
                    <a:pt x="4" y="157"/>
                    <a:pt x="8" y="157"/>
                    <a:pt x="10" y="159"/>
                  </a:cubicBezTo>
                  <a:cubicBezTo>
                    <a:pt x="66" y="214"/>
                    <a:pt x="66" y="214"/>
                    <a:pt x="66" y="214"/>
                  </a:cubicBezTo>
                  <a:cubicBezTo>
                    <a:pt x="235" y="3"/>
                    <a:pt x="235" y="3"/>
                    <a:pt x="235" y="3"/>
                  </a:cubicBezTo>
                  <a:cubicBezTo>
                    <a:pt x="238" y="1"/>
                    <a:pt x="241" y="0"/>
                    <a:pt x="244" y="3"/>
                  </a:cubicBezTo>
                  <a:cubicBezTo>
                    <a:pt x="246" y="5"/>
                    <a:pt x="247" y="8"/>
                    <a:pt x="245" y="11"/>
                  </a:cubicBezTo>
                  <a:cubicBezTo>
                    <a:pt x="71" y="227"/>
                    <a:pt x="71" y="227"/>
                    <a:pt x="71" y="227"/>
                  </a:cubicBezTo>
                  <a:cubicBezTo>
                    <a:pt x="70" y="228"/>
                    <a:pt x="68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26" name="Freeform 89">
              <a:extLst>
                <a:ext uri="{FF2B5EF4-FFF2-40B4-BE49-F238E27FC236}">
                  <a16:creationId xmlns:a16="http://schemas.microsoft.com/office/drawing/2014/main" id="{04185316-B34F-294A-A34C-BE4AAF5B7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" y="1808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165 w 228"/>
                <a:gd name="T7" fmla="*/ 12 h 228"/>
                <a:gd name="T8" fmla="*/ 168 w 228"/>
                <a:gd name="T9" fmla="*/ 20 h 228"/>
                <a:gd name="T10" fmla="*/ 159 w 228"/>
                <a:gd name="T11" fmla="*/ 23 h 228"/>
                <a:gd name="T12" fmla="*/ 114 w 228"/>
                <a:gd name="T13" fmla="*/ 12 h 228"/>
                <a:gd name="T14" fmla="*/ 12 w 228"/>
                <a:gd name="T15" fmla="*/ 114 h 228"/>
                <a:gd name="T16" fmla="*/ 114 w 228"/>
                <a:gd name="T17" fmla="*/ 216 h 228"/>
                <a:gd name="T18" fmla="*/ 216 w 228"/>
                <a:gd name="T19" fmla="*/ 114 h 228"/>
                <a:gd name="T20" fmla="*/ 214 w 228"/>
                <a:gd name="T21" fmla="*/ 92 h 228"/>
                <a:gd name="T22" fmla="*/ 218 w 228"/>
                <a:gd name="T23" fmla="*/ 84 h 228"/>
                <a:gd name="T24" fmla="*/ 225 w 228"/>
                <a:gd name="T25" fmla="*/ 89 h 228"/>
                <a:gd name="T26" fmla="*/ 228 w 228"/>
                <a:gd name="T27" fmla="*/ 114 h 228"/>
                <a:gd name="T28" fmla="*/ 114 w 228"/>
                <a:gd name="T29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32" y="0"/>
                    <a:pt x="149" y="4"/>
                    <a:pt x="165" y="12"/>
                  </a:cubicBezTo>
                  <a:cubicBezTo>
                    <a:pt x="168" y="14"/>
                    <a:pt x="169" y="17"/>
                    <a:pt x="168" y="20"/>
                  </a:cubicBezTo>
                  <a:cubicBezTo>
                    <a:pt x="166" y="23"/>
                    <a:pt x="162" y="24"/>
                    <a:pt x="159" y="23"/>
                  </a:cubicBezTo>
                  <a:cubicBezTo>
                    <a:pt x="145" y="16"/>
                    <a:pt x="130" y="12"/>
                    <a:pt x="114" y="12"/>
                  </a:cubicBez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107"/>
                    <a:pt x="215" y="99"/>
                    <a:pt x="214" y="92"/>
                  </a:cubicBezTo>
                  <a:cubicBezTo>
                    <a:pt x="213" y="88"/>
                    <a:pt x="215" y="85"/>
                    <a:pt x="218" y="84"/>
                  </a:cubicBezTo>
                  <a:cubicBezTo>
                    <a:pt x="221" y="84"/>
                    <a:pt x="225" y="86"/>
                    <a:pt x="225" y="89"/>
                  </a:cubicBezTo>
                  <a:cubicBezTo>
                    <a:pt x="227" y="97"/>
                    <a:pt x="228" y="106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127" name="Group 78">
            <a:extLst>
              <a:ext uri="{FF2B5EF4-FFF2-40B4-BE49-F238E27FC236}">
                <a16:creationId xmlns:a16="http://schemas.microsoft.com/office/drawing/2014/main" id="{11722946-2303-184D-8463-D62F3154D8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53323" y="1958607"/>
            <a:ext cx="332545" cy="442701"/>
            <a:chOff x="5561" y="440"/>
            <a:chExt cx="320" cy="426"/>
          </a:xfrm>
          <a:solidFill>
            <a:schemeClr val="accent1"/>
          </a:solidFill>
        </p:grpSpPr>
        <p:sp>
          <p:nvSpPr>
            <p:cNvPr id="128" name="Freeform 79">
              <a:extLst>
                <a:ext uri="{FF2B5EF4-FFF2-40B4-BE49-F238E27FC236}">
                  <a16:creationId xmlns:a16="http://schemas.microsoft.com/office/drawing/2014/main" id="{B5E1DA5A-F0CE-4447-9220-974C2855E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" y="440"/>
              <a:ext cx="320" cy="426"/>
            </a:xfrm>
            <a:custGeom>
              <a:avLst/>
              <a:gdLst>
                <a:gd name="T0" fmla="*/ 210 w 216"/>
                <a:gd name="T1" fmla="*/ 288 h 288"/>
                <a:gd name="T2" fmla="*/ 6 w 216"/>
                <a:gd name="T3" fmla="*/ 288 h 288"/>
                <a:gd name="T4" fmla="*/ 0 w 216"/>
                <a:gd name="T5" fmla="*/ 282 h 288"/>
                <a:gd name="T6" fmla="*/ 0 w 216"/>
                <a:gd name="T7" fmla="*/ 6 h 288"/>
                <a:gd name="T8" fmla="*/ 6 w 216"/>
                <a:gd name="T9" fmla="*/ 0 h 288"/>
                <a:gd name="T10" fmla="*/ 138 w 216"/>
                <a:gd name="T11" fmla="*/ 0 h 288"/>
                <a:gd name="T12" fmla="*/ 142 w 216"/>
                <a:gd name="T13" fmla="*/ 2 h 288"/>
                <a:gd name="T14" fmla="*/ 214 w 216"/>
                <a:gd name="T15" fmla="*/ 74 h 288"/>
                <a:gd name="T16" fmla="*/ 216 w 216"/>
                <a:gd name="T17" fmla="*/ 78 h 288"/>
                <a:gd name="T18" fmla="*/ 216 w 216"/>
                <a:gd name="T19" fmla="*/ 282 h 288"/>
                <a:gd name="T20" fmla="*/ 210 w 216"/>
                <a:gd name="T21" fmla="*/ 288 h 288"/>
                <a:gd name="T22" fmla="*/ 12 w 216"/>
                <a:gd name="T23" fmla="*/ 276 h 288"/>
                <a:gd name="T24" fmla="*/ 204 w 216"/>
                <a:gd name="T25" fmla="*/ 276 h 288"/>
                <a:gd name="T26" fmla="*/ 204 w 216"/>
                <a:gd name="T27" fmla="*/ 81 h 288"/>
                <a:gd name="T28" fmla="*/ 136 w 216"/>
                <a:gd name="T29" fmla="*/ 12 h 288"/>
                <a:gd name="T30" fmla="*/ 12 w 216"/>
                <a:gd name="T31" fmla="*/ 12 h 288"/>
                <a:gd name="T32" fmla="*/ 12 w 216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6"/>
                    <a:pt x="214" y="288"/>
                    <a:pt x="210" y="288"/>
                  </a:cubicBezTo>
                  <a:close/>
                  <a:moveTo>
                    <a:pt x="12" y="276"/>
                  </a:moveTo>
                  <a:cubicBezTo>
                    <a:pt x="204" y="276"/>
                    <a:pt x="204" y="276"/>
                    <a:pt x="204" y="27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9" name="Freeform 80">
              <a:extLst>
                <a:ext uri="{FF2B5EF4-FFF2-40B4-BE49-F238E27FC236}">
                  <a16:creationId xmlns:a16="http://schemas.microsoft.com/office/drawing/2014/main" id="{ABA3B36B-BE79-3540-89D8-3AD859FC5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440"/>
              <a:ext cx="124" cy="125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0" name="Freeform 81">
              <a:extLst>
                <a:ext uri="{FF2B5EF4-FFF2-40B4-BE49-F238E27FC236}">
                  <a16:creationId xmlns:a16="http://schemas.microsoft.com/office/drawing/2014/main" id="{25C5AFD0-4C23-1A40-A6D1-BE0869FC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18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1" name="Freeform 82">
              <a:extLst>
                <a:ext uri="{FF2B5EF4-FFF2-40B4-BE49-F238E27FC236}">
                  <a16:creationId xmlns:a16="http://schemas.microsoft.com/office/drawing/2014/main" id="{D412E5BA-BAFD-7249-9FD7-E1C872BD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89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2" name="Freeform 83">
              <a:extLst>
                <a:ext uri="{FF2B5EF4-FFF2-40B4-BE49-F238E27FC236}">
                  <a16:creationId xmlns:a16="http://schemas.microsoft.com/office/drawing/2014/main" id="{427BAFDA-991B-DF4F-A7FE-4061E7986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760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3" name="Freeform 84">
              <a:extLst>
                <a:ext uri="{FF2B5EF4-FFF2-40B4-BE49-F238E27FC236}">
                  <a16:creationId xmlns:a16="http://schemas.microsoft.com/office/drawing/2014/main" id="{B4508F28-8BDC-9245-9C66-6834A3DEB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582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4" name="Freeform 85">
              <a:extLst>
                <a:ext uri="{FF2B5EF4-FFF2-40B4-BE49-F238E27FC236}">
                  <a16:creationId xmlns:a16="http://schemas.microsoft.com/office/drawing/2014/main" id="{4B821B86-B791-D441-90DA-D286CAEB5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653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5" name="Freeform 86">
              <a:extLst>
                <a:ext uri="{FF2B5EF4-FFF2-40B4-BE49-F238E27FC236}">
                  <a16:creationId xmlns:a16="http://schemas.microsoft.com/office/drawing/2014/main" id="{0961530D-62F0-7F40-BD08-0D4F17005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724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6" name="Group 45">
            <a:extLst>
              <a:ext uri="{FF2B5EF4-FFF2-40B4-BE49-F238E27FC236}">
                <a16:creationId xmlns:a16="http://schemas.microsoft.com/office/drawing/2014/main" id="{516FF822-0AC6-8F49-982F-1D1D7300DD4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83204" y="3116889"/>
            <a:ext cx="481666" cy="481666"/>
            <a:chOff x="5507" y="439"/>
            <a:chExt cx="426" cy="426"/>
          </a:xfrm>
          <a:solidFill>
            <a:schemeClr val="accent1"/>
          </a:solidFill>
        </p:grpSpPr>
        <p:sp>
          <p:nvSpPr>
            <p:cNvPr id="137" name="Freeform 46">
              <a:extLst>
                <a:ext uri="{FF2B5EF4-FFF2-40B4-BE49-F238E27FC236}">
                  <a16:creationId xmlns:a16="http://schemas.microsoft.com/office/drawing/2014/main" id="{F4B73D59-02E7-6541-B93C-C6650620A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" y="652"/>
              <a:ext cx="124" cy="124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5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8"/>
                    <a:pt x="26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8" name="Freeform 47">
              <a:extLst>
                <a:ext uri="{FF2B5EF4-FFF2-40B4-BE49-F238E27FC236}">
                  <a16:creationId xmlns:a16="http://schemas.microsoft.com/office/drawing/2014/main" id="{A069EDB2-D1F1-4B46-9633-D4A833BD8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" y="49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9" name="Freeform 48">
              <a:extLst>
                <a:ext uri="{FF2B5EF4-FFF2-40B4-BE49-F238E27FC236}">
                  <a16:creationId xmlns:a16="http://schemas.microsoft.com/office/drawing/2014/main" id="{28E39315-063A-D84B-9973-3C71C544E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" y="563"/>
              <a:ext cx="302" cy="302"/>
            </a:xfrm>
            <a:custGeom>
              <a:avLst/>
              <a:gdLst>
                <a:gd name="T0" fmla="*/ 79 w 204"/>
                <a:gd name="T1" fmla="*/ 204 h 204"/>
                <a:gd name="T2" fmla="*/ 73 w 204"/>
                <a:gd name="T3" fmla="*/ 180 h 204"/>
                <a:gd name="T4" fmla="*/ 34 w 204"/>
                <a:gd name="T5" fmla="*/ 176 h 204"/>
                <a:gd name="T6" fmla="*/ 2 w 204"/>
                <a:gd name="T7" fmla="*/ 132 h 204"/>
                <a:gd name="T8" fmla="*/ 19 w 204"/>
                <a:gd name="T9" fmla="*/ 115 h 204"/>
                <a:gd name="T10" fmla="*/ 19 w 204"/>
                <a:gd name="T11" fmla="*/ 88 h 204"/>
                <a:gd name="T12" fmla="*/ 2 w 204"/>
                <a:gd name="T13" fmla="*/ 76 h 204"/>
                <a:gd name="T14" fmla="*/ 26 w 204"/>
                <a:gd name="T15" fmla="*/ 30 h 204"/>
                <a:gd name="T16" fmla="*/ 50 w 204"/>
                <a:gd name="T17" fmla="*/ 36 h 204"/>
                <a:gd name="T18" fmla="*/ 73 w 204"/>
                <a:gd name="T19" fmla="*/ 6 h 204"/>
                <a:gd name="T20" fmla="*/ 127 w 204"/>
                <a:gd name="T21" fmla="*/ 0 h 204"/>
                <a:gd name="T22" fmla="*/ 133 w 204"/>
                <a:gd name="T23" fmla="*/ 23 h 204"/>
                <a:gd name="T24" fmla="*/ 170 w 204"/>
                <a:gd name="T25" fmla="*/ 28 h 204"/>
                <a:gd name="T26" fmla="*/ 179 w 204"/>
                <a:gd name="T27" fmla="*/ 30 h 204"/>
                <a:gd name="T28" fmla="*/ 200 w 204"/>
                <a:gd name="T29" fmla="*/ 80 h 204"/>
                <a:gd name="T30" fmla="*/ 186 w 204"/>
                <a:gd name="T31" fmla="*/ 102 h 204"/>
                <a:gd name="T32" fmla="*/ 201 w 204"/>
                <a:gd name="T33" fmla="*/ 124 h 204"/>
                <a:gd name="T34" fmla="*/ 179 w 204"/>
                <a:gd name="T35" fmla="*/ 173 h 204"/>
                <a:gd name="T36" fmla="*/ 171 w 204"/>
                <a:gd name="T37" fmla="*/ 176 h 204"/>
                <a:gd name="T38" fmla="*/ 133 w 204"/>
                <a:gd name="T39" fmla="*/ 180 h 204"/>
                <a:gd name="T40" fmla="*/ 127 w 204"/>
                <a:gd name="T41" fmla="*/ 204 h 204"/>
                <a:gd name="T42" fmla="*/ 121 w 204"/>
                <a:gd name="T43" fmla="*/ 192 h 204"/>
                <a:gd name="T44" fmla="*/ 126 w 204"/>
                <a:gd name="T45" fmla="*/ 170 h 204"/>
                <a:gd name="T46" fmla="*/ 158 w 204"/>
                <a:gd name="T47" fmla="*/ 154 h 204"/>
                <a:gd name="T48" fmla="*/ 189 w 204"/>
                <a:gd name="T49" fmla="*/ 131 h 204"/>
                <a:gd name="T50" fmla="*/ 173 w 204"/>
                <a:gd name="T51" fmla="*/ 117 h 204"/>
                <a:gd name="T52" fmla="*/ 173 w 204"/>
                <a:gd name="T53" fmla="*/ 87 h 204"/>
                <a:gd name="T54" fmla="*/ 189 w 204"/>
                <a:gd name="T55" fmla="*/ 72 h 204"/>
                <a:gd name="T56" fmla="*/ 158 w 204"/>
                <a:gd name="T57" fmla="*/ 49 h 204"/>
                <a:gd name="T58" fmla="*/ 126 w 204"/>
                <a:gd name="T59" fmla="*/ 33 h 204"/>
                <a:gd name="T60" fmla="*/ 121 w 204"/>
                <a:gd name="T61" fmla="*/ 12 h 204"/>
                <a:gd name="T62" fmla="*/ 85 w 204"/>
                <a:gd name="T63" fmla="*/ 27 h 204"/>
                <a:gd name="T64" fmla="*/ 55 w 204"/>
                <a:gd name="T65" fmla="*/ 48 h 204"/>
                <a:gd name="T66" fmla="*/ 34 w 204"/>
                <a:gd name="T67" fmla="*/ 41 h 204"/>
                <a:gd name="T68" fmla="*/ 29 w 204"/>
                <a:gd name="T69" fmla="*/ 80 h 204"/>
                <a:gd name="T70" fmla="*/ 30 w 204"/>
                <a:gd name="T71" fmla="*/ 102 h 204"/>
                <a:gd name="T72" fmla="*/ 29 w 204"/>
                <a:gd name="T73" fmla="*/ 123 h 204"/>
                <a:gd name="T74" fmla="*/ 33 w 204"/>
                <a:gd name="T75" fmla="*/ 162 h 204"/>
                <a:gd name="T76" fmla="*/ 55 w 204"/>
                <a:gd name="T77" fmla="*/ 155 h 204"/>
                <a:gd name="T78" fmla="*/ 85 w 204"/>
                <a:gd name="T79" fmla="*/ 17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7" y="204"/>
                  </a:moveTo>
                  <a:cubicBezTo>
                    <a:pt x="79" y="204"/>
                    <a:pt x="79" y="204"/>
                    <a:pt x="79" y="204"/>
                  </a:cubicBezTo>
                  <a:cubicBezTo>
                    <a:pt x="76" y="204"/>
                    <a:pt x="73" y="201"/>
                    <a:pt x="73" y="198"/>
                  </a:cubicBezTo>
                  <a:cubicBezTo>
                    <a:pt x="73" y="180"/>
                    <a:pt x="73" y="180"/>
                    <a:pt x="73" y="180"/>
                  </a:cubicBezTo>
                  <a:cubicBezTo>
                    <a:pt x="65" y="177"/>
                    <a:pt x="57" y="173"/>
                    <a:pt x="50" y="167"/>
                  </a:cubicBezTo>
                  <a:cubicBezTo>
                    <a:pt x="34" y="176"/>
                    <a:pt x="34" y="176"/>
                    <a:pt x="34" y="176"/>
                  </a:cubicBezTo>
                  <a:cubicBezTo>
                    <a:pt x="31" y="177"/>
                    <a:pt x="28" y="176"/>
                    <a:pt x="26" y="173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29"/>
                    <a:pt x="1" y="125"/>
                    <a:pt x="4" y="12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1"/>
                    <a:pt x="18" y="106"/>
                    <a:pt x="18" y="102"/>
                  </a:cubicBezTo>
                  <a:cubicBezTo>
                    <a:pt x="18" y="97"/>
                    <a:pt x="19" y="93"/>
                    <a:pt x="19" y="88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79"/>
                    <a:pt x="2" y="78"/>
                    <a:pt x="2" y="76"/>
                  </a:cubicBezTo>
                  <a:cubicBezTo>
                    <a:pt x="1" y="74"/>
                    <a:pt x="1" y="73"/>
                    <a:pt x="2" y="7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8" y="27"/>
                    <a:pt x="32" y="26"/>
                    <a:pt x="34" y="28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7" y="30"/>
                    <a:pt x="65" y="26"/>
                    <a:pt x="73" y="23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6" y="0"/>
                    <a:pt x="7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6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42" y="26"/>
                    <a:pt x="149" y="31"/>
                    <a:pt x="156" y="36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2" y="27"/>
                    <a:pt x="173" y="27"/>
                    <a:pt x="175" y="27"/>
                  </a:cubicBezTo>
                  <a:cubicBezTo>
                    <a:pt x="177" y="27"/>
                    <a:pt x="178" y="28"/>
                    <a:pt x="179" y="30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04" y="74"/>
                    <a:pt x="203" y="78"/>
                    <a:pt x="200" y="8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6" y="93"/>
                    <a:pt x="186" y="97"/>
                    <a:pt x="186" y="102"/>
                  </a:cubicBezTo>
                  <a:cubicBezTo>
                    <a:pt x="186" y="106"/>
                    <a:pt x="186" y="111"/>
                    <a:pt x="185" y="115"/>
                  </a:cubicBezTo>
                  <a:cubicBezTo>
                    <a:pt x="201" y="124"/>
                    <a:pt x="201" y="124"/>
                    <a:pt x="201" y="124"/>
                  </a:cubicBezTo>
                  <a:cubicBezTo>
                    <a:pt x="203" y="125"/>
                    <a:pt x="204" y="129"/>
                    <a:pt x="203" y="132"/>
                  </a:cubicBezTo>
                  <a:cubicBezTo>
                    <a:pt x="179" y="173"/>
                    <a:pt x="179" y="173"/>
                    <a:pt x="179" y="173"/>
                  </a:cubicBezTo>
                  <a:cubicBezTo>
                    <a:pt x="178" y="175"/>
                    <a:pt x="177" y="176"/>
                    <a:pt x="175" y="176"/>
                  </a:cubicBezTo>
                  <a:cubicBezTo>
                    <a:pt x="174" y="177"/>
                    <a:pt x="172" y="176"/>
                    <a:pt x="171" y="17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49" y="173"/>
                    <a:pt x="142" y="177"/>
                    <a:pt x="133" y="180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33" y="201"/>
                    <a:pt x="131" y="204"/>
                    <a:pt x="127" y="204"/>
                  </a:cubicBezTo>
                  <a:close/>
                  <a:moveTo>
                    <a:pt x="85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76"/>
                    <a:pt x="121" y="176"/>
                    <a:pt x="121" y="176"/>
                  </a:cubicBezTo>
                  <a:cubicBezTo>
                    <a:pt x="121" y="173"/>
                    <a:pt x="123" y="171"/>
                    <a:pt x="126" y="170"/>
                  </a:cubicBezTo>
                  <a:cubicBezTo>
                    <a:pt x="136" y="167"/>
                    <a:pt x="143" y="162"/>
                    <a:pt x="151" y="155"/>
                  </a:cubicBezTo>
                  <a:cubicBezTo>
                    <a:pt x="153" y="153"/>
                    <a:pt x="156" y="153"/>
                    <a:pt x="158" y="154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3" y="122"/>
                    <a:pt x="172" y="119"/>
                    <a:pt x="173" y="117"/>
                  </a:cubicBezTo>
                  <a:cubicBezTo>
                    <a:pt x="174" y="112"/>
                    <a:pt x="174" y="107"/>
                    <a:pt x="174" y="102"/>
                  </a:cubicBezTo>
                  <a:cubicBezTo>
                    <a:pt x="174" y="97"/>
                    <a:pt x="174" y="92"/>
                    <a:pt x="173" y="87"/>
                  </a:cubicBezTo>
                  <a:cubicBezTo>
                    <a:pt x="172" y="84"/>
                    <a:pt x="173" y="81"/>
                    <a:pt x="176" y="80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6" y="50"/>
                    <a:pt x="153" y="50"/>
                    <a:pt x="151" y="48"/>
                  </a:cubicBezTo>
                  <a:cubicBezTo>
                    <a:pt x="143" y="41"/>
                    <a:pt x="136" y="36"/>
                    <a:pt x="126" y="33"/>
                  </a:cubicBezTo>
                  <a:cubicBezTo>
                    <a:pt x="123" y="33"/>
                    <a:pt x="121" y="30"/>
                    <a:pt x="121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5" y="30"/>
                    <a:pt x="83" y="32"/>
                    <a:pt x="81" y="33"/>
                  </a:cubicBezTo>
                  <a:cubicBezTo>
                    <a:pt x="71" y="36"/>
                    <a:pt x="63" y="40"/>
                    <a:pt x="55" y="48"/>
                  </a:cubicBezTo>
                  <a:cubicBezTo>
                    <a:pt x="53" y="50"/>
                    <a:pt x="50" y="50"/>
                    <a:pt x="48" y="49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3" y="84"/>
                    <a:pt x="32" y="87"/>
                  </a:cubicBezTo>
                  <a:cubicBezTo>
                    <a:pt x="31" y="92"/>
                    <a:pt x="30" y="97"/>
                    <a:pt x="30" y="102"/>
                  </a:cubicBezTo>
                  <a:cubicBezTo>
                    <a:pt x="30" y="107"/>
                    <a:pt x="31" y="112"/>
                    <a:pt x="32" y="117"/>
                  </a:cubicBezTo>
                  <a:cubicBezTo>
                    <a:pt x="33" y="119"/>
                    <a:pt x="31" y="122"/>
                    <a:pt x="29" y="123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0" y="153"/>
                    <a:pt x="53" y="153"/>
                    <a:pt x="55" y="155"/>
                  </a:cubicBezTo>
                  <a:cubicBezTo>
                    <a:pt x="63" y="163"/>
                    <a:pt x="71" y="167"/>
                    <a:pt x="81" y="170"/>
                  </a:cubicBezTo>
                  <a:cubicBezTo>
                    <a:pt x="83" y="171"/>
                    <a:pt x="85" y="173"/>
                    <a:pt x="85" y="176"/>
                  </a:cubicBezTo>
                  <a:lnTo>
                    <a:pt x="8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0" name="Freeform 49">
              <a:extLst>
                <a:ext uri="{FF2B5EF4-FFF2-40B4-BE49-F238E27FC236}">
                  <a16:creationId xmlns:a16="http://schemas.microsoft.com/office/drawing/2014/main" id="{25703F0B-4AFB-1142-AB77-64647188D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7" y="439"/>
              <a:ext cx="176" cy="178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1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07 w 119"/>
                <a:gd name="T31" fmla="*/ 53 h 120"/>
                <a:gd name="T32" fmla="*/ 107 w 119"/>
                <a:gd name="T33" fmla="*/ 66 h 120"/>
                <a:gd name="T34" fmla="*/ 117 w 119"/>
                <a:gd name="T35" fmla="*/ 79 h 120"/>
                <a:gd name="T36" fmla="*/ 102 w 119"/>
                <a:gd name="T37" fmla="*/ 103 h 120"/>
                <a:gd name="T38" fmla="*/ 89 w 119"/>
                <a:gd name="T39" fmla="*/ 97 h 120"/>
                <a:gd name="T40" fmla="*/ 78 w 119"/>
                <a:gd name="T41" fmla="*/ 114 h 120"/>
                <a:gd name="T42" fmla="*/ 54 w 119"/>
                <a:gd name="T43" fmla="*/ 108 h 120"/>
                <a:gd name="T44" fmla="*/ 66 w 119"/>
                <a:gd name="T45" fmla="*/ 100 h 120"/>
                <a:gd name="T46" fmla="*/ 84 w 119"/>
                <a:gd name="T47" fmla="*/ 86 h 120"/>
                <a:gd name="T48" fmla="*/ 98 w 119"/>
                <a:gd name="T49" fmla="*/ 89 h 120"/>
                <a:gd name="T50" fmla="*/ 97 w 119"/>
                <a:gd name="T51" fmla="*/ 75 h 120"/>
                <a:gd name="T52" fmla="*/ 95 w 119"/>
                <a:gd name="T53" fmla="*/ 60 h 120"/>
                <a:gd name="T54" fmla="*/ 97 w 119"/>
                <a:gd name="T55" fmla="*/ 45 h 120"/>
                <a:gd name="T56" fmla="*/ 98 w 119"/>
                <a:gd name="T57" fmla="*/ 31 h 120"/>
                <a:gd name="T58" fmla="*/ 84 w 119"/>
                <a:gd name="T59" fmla="*/ 34 h 120"/>
                <a:gd name="T60" fmla="*/ 66 w 119"/>
                <a:gd name="T61" fmla="*/ 19 h 120"/>
                <a:gd name="T62" fmla="*/ 54 w 119"/>
                <a:gd name="T63" fmla="*/ 12 h 120"/>
                <a:gd name="T64" fmla="*/ 50 w 119"/>
                <a:gd name="T65" fmla="*/ 25 h 120"/>
                <a:gd name="T66" fmla="*/ 28 w 119"/>
                <a:gd name="T67" fmla="*/ 34 h 120"/>
                <a:gd name="T68" fmla="*/ 15 w 119"/>
                <a:gd name="T69" fmla="*/ 41 h 120"/>
                <a:gd name="T70" fmla="*/ 24 w 119"/>
                <a:gd name="T71" fmla="*/ 51 h 120"/>
                <a:gd name="T72" fmla="*/ 24 w 119"/>
                <a:gd name="T73" fmla="*/ 68 h 120"/>
                <a:gd name="T74" fmla="*/ 15 w 119"/>
                <a:gd name="T75" fmla="*/ 78 h 120"/>
                <a:gd name="T76" fmla="*/ 28 w 119"/>
                <a:gd name="T77" fmla="*/ 85 h 120"/>
                <a:gd name="T78" fmla="*/ 50 w 119"/>
                <a:gd name="T79" fmla="*/ 94 h 120"/>
                <a:gd name="T80" fmla="*/ 54 w 119"/>
                <a:gd name="T8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5"/>
                  </a:cubicBezTo>
                  <a:cubicBezTo>
                    <a:pt x="0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9" y="43"/>
                    <a:pt x="118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7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3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0" y="94"/>
                  </a:cubicBezTo>
                  <a:cubicBezTo>
                    <a:pt x="76" y="93"/>
                    <a:pt x="80" y="90"/>
                    <a:pt x="84" y="86"/>
                  </a:cubicBezTo>
                  <a:cubicBezTo>
                    <a:pt x="86" y="84"/>
                    <a:pt x="89" y="84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3"/>
                    <a:pt x="94" y="71"/>
                    <a:pt x="94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6" y="35"/>
                    <a:pt x="84" y="34"/>
                  </a:cubicBezTo>
                  <a:cubicBezTo>
                    <a:pt x="80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4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4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1"/>
                    <a:pt x="24" y="73"/>
                    <a:pt x="22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41" name="Group 79">
            <a:extLst>
              <a:ext uri="{FF2B5EF4-FFF2-40B4-BE49-F238E27FC236}">
                <a16:creationId xmlns:a16="http://schemas.microsoft.com/office/drawing/2014/main" id="{F01FD265-4EA3-E648-9E9F-F7ED57259C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8644" y="3186991"/>
            <a:ext cx="481666" cy="341462"/>
            <a:chOff x="3437" y="1784"/>
            <a:chExt cx="426" cy="302"/>
          </a:xfrm>
          <a:solidFill>
            <a:schemeClr val="accent1"/>
          </a:solidFill>
        </p:grpSpPr>
        <p:sp>
          <p:nvSpPr>
            <p:cNvPr id="142" name="Freeform 80">
              <a:extLst>
                <a:ext uri="{FF2B5EF4-FFF2-40B4-BE49-F238E27FC236}">
                  <a16:creationId xmlns:a16="http://schemas.microsoft.com/office/drawing/2014/main" id="{AD563135-6D41-B34F-8DBF-9789C1D2F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962"/>
              <a:ext cx="72" cy="7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3" name="Freeform 81">
              <a:extLst>
                <a:ext uri="{FF2B5EF4-FFF2-40B4-BE49-F238E27FC236}">
                  <a16:creationId xmlns:a16="http://schemas.microsoft.com/office/drawing/2014/main" id="{8E14FF8C-207B-F447-B912-AC19E0458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" y="1880"/>
              <a:ext cx="108" cy="107"/>
            </a:xfrm>
            <a:custGeom>
              <a:avLst/>
              <a:gdLst>
                <a:gd name="T0" fmla="*/ 7 w 73"/>
                <a:gd name="T1" fmla="*/ 72 h 72"/>
                <a:gd name="T2" fmla="*/ 3 w 73"/>
                <a:gd name="T3" fmla="*/ 70 h 72"/>
                <a:gd name="T4" fmla="*/ 3 w 73"/>
                <a:gd name="T5" fmla="*/ 62 h 72"/>
                <a:gd name="T6" fmla="*/ 62 w 73"/>
                <a:gd name="T7" fmla="*/ 2 h 72"/>
                <a:gd name="T8" fmla="*/ 71 w 73"/>
                <a:gd name="T9" fmla="*/ 2 h 72"/>
                <a:gd name="T10" fmla="*/ 71 w 73"/>
                <a:gd name="T11" fmla="*/ 11 h 72"/>
                <a:gd name="T12" fmla="*/ 11 w 73"/>
                <a:gd name="T13" fmla="*/ 70 h 72"/>
                <a:gd name="T14" fmla="*/ 7 w 73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7" y="72"/>
                  </a:moveTo>
                  <a:cubicBezTo>
                    <a:pt x="5" y="72"/>
                    <a:pt x="4" y="72"/>
                    <a:pt x="3" y="70"/>
                  </a:cubicBezTo>
                  <a:cubicBezTo>
                    <a:pt x="0" y="68"/>
                    <a:pt x="0" y="64"/>
                    <a:pt x="3" y="6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4" y="0"/>
                    <a:pt x="68" y="0"/>
                    <a:pt x="71" y="2"/>
                  </a:cubicBezTo>
                  <a:cubicBezTo>
                    <a:pt x="73" y="5"/>
                    <a:pt x="73" y="9"/>
                    <a:pt x="71" y="1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72"/>
                    <a:pt x="9" y="72"/>
                    <a:pt x="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4" name="Freeform 82">
              <a:extLst>
                <a:ext uri="{FF2B5EF4-FFF2-40B4-BE49-F238E27FC236}">
                  <a16:creationId xmlns:a16="http://schemas.microsoft.com/office/drawing/2014/main" id="{D89E874B-0787-064A-B6EE-771B86487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2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5" name="Freeform 83">
              <a:extLst>
                <a:ext uri="{FF2B5EF4-FFF2-40B4-BE49-F238E27FC236}">
                  <a16:creationId xmlns:a16="http://schemas.microsoft.com/office/drawing/2014/main" id="{B0BBC9BB-9478-DD40-9544-993DEB7E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6" name="Freeform 84">
              <a:extLst>
                <a:ext uri="{FF2B5EF4-FFF2-40B4-BE49-F238E27FC236}">
                  <a16:creationId xmlns:a16="http://schemas.microsoft.com/office/drawing/2014/main" id="{52E27719-BDA4-694D-83C1-C827D694B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1922"/>
              <a:ext cx="52" cy="32"/>
            </a:xfrm>
            <a:custGeom>
              <a:avLst/>
              <a:gdLst>
                <a:gd name="T0" fmla="*/ 6 w 35"/>
                <a:gd name="T1" fmla="*/ 22 h 22"/>
                <a:gd name="T2" fmla="*/ 1 w 35"/>
                <a:gd name="T3" fmla="*/ 19 h 22"/>
                <a:gd name="T4" fmla="*/ 4 w 35"/>
                <a:gd name="T5" fmla="*/ 11 h 22"/>
                <a:gd name="T6" fmla="*/ 26 w 35"/>
                <a:gd name="T7" fmla="*/ 2 h 22"/>
                <a:gd name="T8" fmla="*/ 34 w 35"/>
                <a:gd name="T9" fmla="*/ 5 h 22"/>
                <a:gd name="T10" fmla="*/ 31 w 35"/>
                <a:gd name="T11" fmla="*/ 13 h 22"/>
                <a:gd name="T12" fmla="*/ 9 w 35"/>
                <a:gd name="T13" fmla="*/ 22 h 22"/>
                <a:gd name="T14" fmla="*/ 6 w 35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2">
                  <a:moveTo>
                    <a:pt x="6" y="22"/>
                  </a:moveTo>
                  <a:cubicBezTo>
                    <a:pt x="4" y="22"/>
                    <a:pt x="2" y="21"/>
                    <a:pt x="1" y="19"/>
                  </a:cubicBezTo>
                  <a:cubicBezTo>
                    <a:pt x="0" y="16"/>
                    <a:pt x="1" y="12"/>
                    <a:pt x="4" y="1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0"/>
                    <a:pt x="33" y="2"/>
                    <a:pt x="34" y="5"/>
                  </a:cubicBezTo>
                  <a:cubicBezTo>
                    <a:pt x="35" y="8"/>
                    <a:pt x="34" y="11"/>
                    <a:pt x="31" y="1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7" name="Freeform 85">
              <a:extLst>
                <a:ext uri="{FF2B5EF4-FFF2-40B4-BE49-F238E27FC236}">
                  <a16:creationId xmlns:a16="http://schemas.microsoft.com/office/drawing/2014/main" id="{FF113834-5F02-6A41-9F8F-FFF2D91F5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832"/>
              <a:ext cx="34" cy="51"/>
            </a:xfrm>
            <a:custGeom>
              <a:avLst/>
              <a:gdLst>
                <a:gd name="T0" fmla="*/ 7 w 23"/>
                <a:gd name="T1" fmla="*/ 35 h 35"/>
                <a:gd name="T2" fmla="*/ 4 w 23"/>
                <a:gd name="T3" fmla="*/ 34 h 35"/>
                <a:gd name="T4" fmla="*/ 1 w 23"/>
                <a:gd name="T5" fmla="*/ 26 h 35"/>
                <a:gd name="T6" fmla="*/ 10 w 23"/>
                <a:gd name="T7" fmla="*/ 4 h 35"/>
                <a:gd name="T8" fmla="*/ 18 w 23"/>
                <a:gd name="T9" fmla="*/ 1 h 35"/>
                <a:gd name="T10" fmla="*/ 21 w 23"/>
                <a:gd name="T11" fmla="*/ 9 h 35"/>
                <a:gd name="T12" fmla="*/ 12 w 23"/>
                <a:gd name="T13" fmla="*/ 31 h 35"/>
                <a:gd name="T14" fmla="*/ 7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7" y="35"/>
                  </a:moveTo>
                  <a:cubicBezTo>
                    <a:pt x="6" y="35"/>
                    <a:pt x="5" y="35"/>
                    <a:pt x="4" y="34"/>
                  </a:cubicBezTo>
                  <a:cubicBezTo>
                    <a:pt x="1" y="33"/>
                    <a:pt x="0" y="29"/>
                    <a:pt x="1" y="2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1" y="2"/>
                    <a:pt x="23" y="6"/>
                    <a:pt x="21" y="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33"/>
                    <a:pt x="9" y="35"/>
                    <a:pt x="7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8" name="Freeform 86">
              <a:extLst>
                <a:ext uri="{FF2B5EF4-FFF2-40B4-BE49-F238E27FC236}">
                  <a16:creationId xmlns:a16="http://schemas.microsoft.com/office/drawing/2014/main" id="{1F6BA6DB-8682-D240-BADC-571C01985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1820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9" name="Freeform 87">
              <a:extLst>
                <a:ext uri="{FF2B5EF4-FFF2-40B4-BE49-F238E27FC236}">
                  <a16:creationId xmlns:a16="http://schemas.microsoft.com/office/drawing/2014/main" id="{FE697EC8-E5DA-6C49-A676-2F10E8AE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1832"/>
              <a:ext cx="34" cy="51"/>
            </a:xfrm>
            <a:custGeom>
              <a:avLst/>
              <a:gdLst>
                <a:gd name="T0" fmla="*/ 16 w 23"/>
                <a:gd name="T1" fmla="*/ 35 h 35"/>
                <a:gd name="T2" fmla="*/ 10 w 23"/>
                <a:gd name="T3" fmla="*/ 31 h 35"/>
                <a:gd name="T4" fmla="*/ 1 w 23"/>
                <a:gd name="T5" fmla="*/ 9 h 35"/>
                <a:gd name="T6" fmla="*/ 4 w 23"/>
                <a:gd name="T7" fmla="*/ 1 h 35"/>
                <a:gd name="T8" fmla="*/ 12 w 23"/>
                <a:gd name="T9" fmla="*/ 4 h 35"/>
                <a:gd name="T10" fmla="*/ 21 w 23"/>
                <a:gd name="T11" fmla="*/ 26 h 35"/>
                <a:gd name="T12" fmla="*/ 18 w 23"/>
                <a:gd name="T13" fmla="*/ 34 h 35"/>
                <a:gd name="T14" fmla="*/ 16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16" y="35"/>
                  </a:moveTo>
                  <a:cubicBezTo>
                    <a:pt x="13" y="35"/>
                    <a:pt x="11" y="33"/>
                    <a:pt x="10" y="3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6"/>
                    <a:pt x="1" y="2"/>
                    <a:pt x="4" y="1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3" y="29"/>
                    <a:pt x="21" y="33"/>
                    <a:pt x="18" y="34"/>
                  </a:cubicBezTo>
                  <a:cubicBezTo>
                    <a:pt x="17" y="35"/>
                    <a:pt x="17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0" name="Freeform 88">
              <a:extLst>
                <a:ext uri="{FF2B5EF4-FFF2-40B4-BE49-F238E27FC236}">
                  <a16:creationId xmlns:a16="http://schemas.microsoft.com/office/drawing/2014/main" id="{12D6C954-2EF3-BD42-BFB7-359D0D4F6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" y="1869"/>
              <a:ext cx="45" cy="42"/>
            </a:xfrm>
            <a:custGeom>
              <a:avLst/>
              <a:gdLst>
                <a:gd name="T0" fmla="*/ 24 w 30"/>
                <a:gd name="T1" fmla="*/ 29 h 29"/>
                <a:gd name="T2" fmla="*/ 19 w 30"/>
                <a:gd name="T3" fmla="*/ 27 h 29"/>
                <a:gd name="T4" fmla="*/ 2 w 30"/>
                <a:gd name="T5" fmla="*/ 10 h 29"/>
                <a:gd name="T6" fmla="*/ 2 w 30"/>
                <a:gd name="T7" fmla="*/ 2 h 29"/>
                <a:gd name="T8" fmla="*/ 11 w 30"/>
                <a:gd name="T9" fmla="*/ 2 h 29"/>
                <a:gd name="T10" fmla="*/ 28 w 30"/>
                <a:gd name="T11" fmla="*/ 19 h 29"/>
                <a:gd name="T12" fmla="*/ 28 w 30"/>
                <a:gd name="T13" fmla="*/ 27 h 29"/>
                <a:gd name="T14" fmla="*/ 24 w 30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9">
                  <a:moveTo>
                    <a:pt x="24" y="29"/>
                  </a:moveTo>
                  <a:cubicBezTo>
                    <a:pt x="22" y="29"/>
                    <a:pt x="21" y="29"/>
                    <a:pt x="19" y="2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0" y="21"/>
                    <a:pt x="30" y="25"/>
                    <a:pt x="28" y="27"/>
                  </a:cubicBezTo>
                  <a:cubicBezTo>
                    <a:pt x="27" y="29"/>
                    <a:pt x="25" y="29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1" name="Freeform 89">
              <a:extLst>
                <a:ext uri="{FF2B5EF4-FFF2-40B4-BE49-F238E27FC236}">
                  <a16:creationId xmlns:a16="http://schemas.microsoft.com/office/drawing/2014/main" id="{A35B7786-D1F2-4549-A514-FD155D87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1922"/>
              <a:ext cx="54" cy="32"/>
            </a:xfrm>
            <a:custGeom>
              <a:avLst/>
              <a:gdLst>
                <a:gd name="T0" fmla="*/ 29 w 36"/>
                <a:gd name="T1" fmla="*/ 22 h 22"/>
                <a:gd name="T2" fmla="*/ 27 w 36"/>
                <a:gd name="T3" fmla="*/ 22 h 22"/>
                <a:gd name="T4" fmla="*/ 5 w 36"/>
                <a:gd name="T5" fmla="*/ 13 h 22"/>
                <a:gd name="T6" fmla="*/ 1 w 36"/>
                <a:gd name="T7" fmla="*/ 5 h 22"/>
                <a:gd name="T8" fmla="*/ 9 w 36"/>
                <a:gd name="T9" fmla="*/ 2 h 22"/>
                <a:gd name="T10" fmla="*/ 31 w 36"/>
                <a:gd name="T11" fmla="*/ 11 h 22"/>
                <a:gd name="T12" fmla="*/ 35 w 36"/>
                <a:gd name="T13" fmla="*/ 19 h 22"/>
                <a:gd name="T14" fmla="*/ 29 w 36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3" y="2"/>
                    <a:pt x="6" y="0"/>
                    <a:pt x="9" y="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4" y="12"/>
                    <a:pt x="36" y="16"/>
                    <a:pt x="35" y="19"/>
                  </a:cubicBezTo>
                  <a:cubicBezTo>
                    <a:pt x="34" y="21"/>
                    <a:pt x="31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2" name="Freeform 90">
              <a:extLst>
                <a:ext uri="{FF2B5EF4-FFF2-40B4-BE49-F238E27FC236}">
                  <a16:creationId xmlns:a16="http://schemas.microsoft.com/office/drawing/2014/main" id="{184AEB09-EB08-604B-AC9C-43039EE91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1784"/>
              <a:ext cx="426" cy="302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144 h 204"/>
                <a:gd name="T8" fmla="*/ 144 w 288"/>
                <a:gd name="T9" fmla="*/ 0 h 204"/>
                <a:gd name="T10" fmla="*/ 288 w 288"/>
                <a:gd name="T11" fmla="*/ 144 h 204"/>
                <a:gd name="T12" fmla="*/ 288 w 288"/>
                <a:gd name="T13" fmla="*/ 198 h 204"/>
                <a:gd name="T14" fmla="*/ 282 w 288"/>
                <a:gd name="T15" fmla="*/ 204 h 204"/>
                <a:gd name="T16" fmla="*/ 12 w 288"/>
                <a:gd name="T17" fmla="*/ 192 h 204"/>
                <a:gd name="T18" fmla="*/ 276 w 288"/>
                <a:gd name="T19" fmla="*/ 192 h 204"/>
                <a:gd name="T20" fmla="*/ 276 w 288"/>
                <a:gd name="T21" fmla="*/ 144 h 204"/>
                <a:gd name="T22" fmla="*/ 144 w 288"/>
                <a:gd name="T23" fmla="*/ 12 h 204"/>
                <a:gd name="T24" fmla="*/ 12 w 288"/>
                <a:gd name="T25" fmla="*/ 144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4" y="0"/>
                    <a:pt x="288" y="64"/>
                    <a:pt x="288" y="144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6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44"/>
                    <a:pt x="276" y="144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153" name="Group 59">
            <a:extLst>
              <a:ext uri="{FF2B5EF4-FFF2-40B4-BE49-F238E27FC236}">
                <a16:creationId xmlns:a16="http://schemas.microsoft.com/office/drawing/2014/main" id="{892D387B-5AA1-8044-8D45-614FDCB30B6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75617" y="3217044"/>
            <a:ext cx="466978" cy="281356"/>
            <a:chOff x="6554" y="532"/>
            <a:chExt cx="400" cy="241"/>
          </a:xfrm>
          <a:solidFill>
            <a:schemeClr val="accent1"/>
          </a:solidFill>
        </p:grpSpPr>
        <p:sp>
          <p:nvSpPr>
            <p:cNvPr id="154" name="Freeform 60">
              <a:extLst>
                <a:ext uri="{FF2B5EF4-FFF2-40B4-BE49-F238E27FC236}">
                  <a16:creationId xmlns:a16="http://schemas.microsoft.com/office/drawing/2014/main" id="{CA82DAE1-B4D6-1142-8988-789C66AB5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532"/>
              <a:ext cx="400" cy="241"/>
            </a:xfrm>
            <a:custGeom>
              <a:avLst/>
              <a:gdLst>
                <a:gd name="T0" fmla="*/ 6 w 271"/>
                <a:gd name="T1" fmla="*/ 163 h 163"/>
                <a:gd name="T2" fmla="*/ 2 w 271"/>
                <a:gd name="T3" fmla="*/ 161 h 163"/>
                <a:gd name="T4" fmla="*/ 2 w 271"/>
                <a:gd name="T5" fmla="*/ 153 h 163"/>
                <a:gd name="T6" fmla="*/ 98 w 271"/>
                <a:gd name="T7" fmla="*/ 45 h 163"/>
                <a:gd name="T8" fmla="*/ 106 w 271"/>
                <a:gd name="T9" fmla="*/ 44 h 163"/>
                <a:gd name="T10" fmla="*/ 174 w 271"/>
                <a:gd name="T11" fmla="*/ 100 h 163"/>
                <a:gd name="T12" fmla="*/ 260 w 271"/>
                <a:gd name="T13" fmla="*/ 3 h 163"/>
                <a:gd name="T14" fmla="*/ 268 w 271"/>
                <a:gd name="T15" fmla="*/ 2 h 163"/>
                <a:gd name="T16" fmla="*/ 269 w 271"/>
                <a:gd name="T17" fmla="*/ 11 h 163"/>
                <a:gd name="T18" fmla="*/ 179 w 271"/>
                <a:gd name="T19" fmla="*/ 113 h 163"/>
                <a:gd name="T20" fmla="*/ 171 w 271"/>
                <a:gd name="T21" fmla="*/ 113 h 163"/>
                <a:gd name="T22" fmla="*/ 103 w 271"/>
                <a:gd name="T23" fmla="*/ 57 h 163"/>
                <a:gd name="T24" fmla="*/ 11 w 271"/>
                <a:gd name="T25" fmla="*/ 161 h 163"/>
                <a:gd name="T26" fmla="*/ 6 w 271"/>
                <a:gd name="T2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63">
                  <a:moveTo>
                    <a:pt x="6" y="163"/>
                  </a:moveTo>
                  <a:cubicBezTo>
                    <a:pt x="5" y="163"/>
                    <a:pt x="4" y="162"/>
                    <a:pt x="2" y="161"/>
                  </a:cubicBezTo>
                  <a:cubicBezTo>
                    <a:pt x="0" y="159"/>
                    <a:pt x="0" y="155"/>
                    <a:pt x="2" y="153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100" y="42"/>
                    <a:pt x="104" y="42"/>
                    <a:pt x="106" y="4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62" y="0"/>
                    <a:pt x="266" y="0"/>
                    <a:pt x="268" y="2"/>
                  </a:cubicBezTo>
                  <a:cubicBezTo>
                    <a:pt x="271" y="5"/>
                    <a:pt x="271" y="8"/>
                    <a:pt x="269" y="11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77" y="115"/>
                    <a:pt x="173" y="116"/>
                    <a:pt x="171" y="113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1" y="161"/>
                    <a:pt x="11" y="161"/>
                    <a:pt x="11" y="161"/>
                  </a:cubicBezTo>
                  <a:cubicBezTo>
                    <a:pt x="10" y="162"/>
                    <a:pt x="8" y="163"/>
                    <a:pt x="6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55" name="Freeform 61">
              <a:extLst>
                <a:ext uri="{FF2B5EF4-FFF2-40B4-BE49-F238E27FC236}">
                  <a16:creationId xmlns:a16="http://schemas.microsoft.com/office/drawing/2014/main" id="{F6DD371E-5D02-AF4E-8FE8-2BC519C31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" y="534"/>
              <a:ext cx="141" cy="124"/>
            </a:xfrm>
            <a:custGeom>
              <a:avLst/>
              <a:gdLst>
                <a:gd name="T0" fmla="*/ 89 w 95"/>
                <a:gd name="T1" fmla="*/ 84 h 84"/>
                <a:gd name="T2" fmla="*/ 83 w 95"/>
                <a:gd name="T3" fmla="*/ 78 h 84"/>
                <a:gd name="T4" fmla="*/ 83 w 95"/>
                <a:gd name="T5" fmla="*/ 12 h 84"/>
                <a:gd name="T6" fmla="*/ 6 w 95"/>
                <a:gd name="T7" fmla="*/ 12 h 84"/>
                <a:gd name="T8" fmla="*/ 0 w 95"/>
                <a:gd name="T9" fmla="*/ 6 h 84"/>
                <a:gd name="T10" fmla="*/ 6 w 95"/>
                <a:gd name="T11" fmla="*/ 0 h 84"/>
                <a:gd name="T12" fmla="*/ 89 w 95"/>
                <a:gd name="T13" fmla="*/ 0 h 84"/>
                <a:gd name="T14" fmla="*/ 95 w 95"/>
                <a:gd name="T15" fmla="*/ 6 h 84"/>
                <a:gd name="T16" fmla="*/ 95 w 95"/>
                <a:gd name="T17" fmla="*/ 78 h 84"/>
                <a:gd name="T18" fmla="*/ 89 w 95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84">
                  <a:moveTo>
                    <a:pt x="89" y="84"/>
                  </a:moveTo>
                  <a:cubicBezTo>
                    <a:pt x="86" y="84"/>
                    <a:pt x="83" y="81"/>
                    <a:pt x="83" y="78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3" y="0"/>
                    <a:pt x="95" y="3"/>
                    <a:pt x="95" y="6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81"/>
                    <a:pt x="93" y="84"/>
                    <a:pt x="8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56" name="Group 60">
            <a:extLst>
              <a:ext uri="{FF2B5EF4-FFF2-40B4-BE49-F238E27FC236}">
                <a16:creationId xmlns:a16="http://schemas.microsoft.com/office/drawing/2014/main" id="{909B4C50-0B6B-F940-B96B-0F025E2574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9567" y="3117577"/>
            <a:ext cx="491836" cy="480291"/>
            <a:chOff x="6726" y="600"/>
            <a:chExt cx="426" cy="416"/>
          </a:xfrm>
          <a:solidFill>
            <a:schemeClr val="accent1"/>
          </a:solidFill>
        </p:grpSpPr>
        <p:sp>
          <p:nvSpPr>
            <p:cNvPr id="157" name="Freeform 61">
              <a:extLst>
                <a:ext uri="{FF2B5EF4-FFF2-40B4-BE49-F238E27FC236}">
                  <a16:creationId xmlns:a16="http://schemas.microsoft.com/office/drawing/2014/main" id="{9C3A8E24-140A-A045-9B50-E9B468100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" y="999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0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2">
              <a:extLst>
                <a:ext uri="{FF2B5EF4-FFF2-40B4-BE49-F238E27FC236}">
                  <a16:creationId xmlns:a16="http://schemas.microsoft.com/office/drawing/2014/main" id="{7B95F1FD-5650-BC4B-808D-C3715C5F4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" y="912"/>
              <a:ext cx="71" cy="104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70"/>
                    <a:pt x="45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3">
              <a:extLst>
                <a:ext uri="{FF2B5EF4-FFF2-40B4-BE49-F238E27FC236}">
                  <a16:creationId xmlns:a16="http://schemas.microsoft.com/office/drawing/2014/main" id="{0ACA05DC-D168-ED4A-8F9D-48683873D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826"/>
              <a:ext cx="71" cy="190"/>
            </a:xfrm>
            <a:custGeom>
              <a:avLst/>
              <a:gdLst>
                <a:gd name="T0" fmla="*/ 42 w 48"/>
                <a:gd name="T1" fmla="*/ 132 h 132"/>
                <a:gd name="T2" fmla="*/ 6 w 48"/>
                <a:gd name="T3" fmla="*/ 132 h 132"/>
                <a:gd name="T4" fmla="*/ 0 w 48"/>
                <a:gd name="T5" fmla="*/ 126 h 132"/>
                <a:gd name="T6" fmla="*/ 0 w 48"/>
                <a:gd name="T7" fmla="*/ 6 h 132"/>
                <a:gd name="T8" fmla="*/ 6 w 48"/>
                <a:gd name="T9" fmla="*/ 0 h 132"/>
                <a:gd name="T10" fmla="*/ 42 w 48"/>
                <a:gd name="T11" fmla="*/ 0 h 132"/>
                <a:gd name="T12" fmla="*/ 48 w 48"/>
                <a:gd name="T13" fmla="*/ 6 h 132"/>
                <a:gd name="T14" fmla="*/ 48 w 48"/>
                <a:gd name="T15" fmla="*/ 126 h 132"/>
                <a:gd name="T16" fmla="*/ 42 w 48"/>
                <a:gd name="T17" fmla="*/ 132 h 132"/>
                <a:gd name="T18" fmla="*/ 12 w 48"/>
                <a:gd name="T19" fmla="*/ 120 h 132"/>
                <a:gd name="T20" fmla="*/ 36 w 48"/>
                <a:gd name="T21" fmla="*/ 120 h 132"/>
                <a:gd name="T22" fmla="*/ 36 w 48"/>
                <a:gd name="T23" fmla="*/ 12 h 132"/>
                <a:gd name="T24" fmla="*/ 12 w 48"/>
                <a:gd name="T25" fmla="*/ 12 h 132"/>
                <a:gd name="T26" fmla="*/ 12 w 48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32">
                  <a:moveTo>
                    <a:pt x="42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30"/>
                    <a:pt x="45" y="132"/>
                    <a:pt x="42" y="132"/>
                  </a:cubicBezTo>
                  <a:close/>
                  <a:moveTo>
                    <a:pt x="12" y="120"/>
                  </a:moveTo>
                  <a:cubicBezTo>
                    <a:pt x="36" y="120"/>
                    <a:pt x="36" y="120"/>
                    <a:pt x="36" y="12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4">
              <a:extLst>
                <a:ext uri="{FF2B5EF4-FFF2-40B4-BE49-F238E27FC236}">
                  <a16:creationId xmlns:a16="http://schemas.microsoft.com/office/drawing/2014/main" id="{DEACE061-660B-B846-81F5-5CAC95D88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7" y="860"/>
              <a:ext cx="71" cy="156"/>
            </a:xfrm>
            <a:custGeom>
              <a:avLst/>
              <a:gdLst>
                <a:gd name="T0" fmla="*/ 42 w 48"/>
                <a:gd name="T1" fmla="*/ 108 h 108"/>
                <a:gd name="T2" fmla="*/ 6 w 48"/>
                <a:gd name="T3" fmla="*/ 108 h 108"/>
                <a:gd name="T4" fmla="*/ 0 w 48"/>
                <a:gd name="T5" fmla="*/ 102 h 108"/>
                <a:gd name="T6" fmla="*/ 0 w 48"/>
                <a:gd name="T7" fmla="*/ 6 h 108"/>
                <a:gd name="T8" fmla="*/ 6 w 48"/>
                <a:gd name="T9" fmla="*/ 0 h 108"/>
                <a:gd name="T10" fmla="*/ 42 w 48"/>
                <a:gd name="T11" fmla="*/ 0 h 108"/>
                <a:gd name="T12" fmla="*/ 48 w 48"/>
                <a:gd name="T13" fmla="*/ 6 h 108"/>
                <a:gd name="T14" fmla="*/ 48 w 48"/>
                <a:gd name="T15" fmla="*/ 102 h 108"/>
                <a:gd name="T16" fmla="*/ 42 w 48"/>
                <a:gd name="T17" fmla="*/ 108 h 108"/>
                <a:gd name="T18" fmla="*/ 12 w 48"/>
                <a:gd name="T19" fmla="*/ 96 h 108"/>
                <a:gd name="T20" fmla="*/ 36 w 48"/>
                <a:gd name="T21" fmla="*/ 96 h 108"/>
                <a:gd name="T22" fmla="*/ 36 w 48"/>
                <a:gd name="T23" fmla="*/ 12 h 108"/>
                <a:gd name="T24" fmla="*/ 12 w 48"/>
                <a:gd name="T25" fmla="*/ 12 h 108"/>
                <a:gd name="T26" fmla="*/ 12 w 48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8">
                  <a:moveTo>
                    <a:pt x="42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2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6"/>
                    <a:pt x="45" y="108"/>
                    <a:pt x="42" y="108"/>
                  </a:cubicBezTo>
                  <a:close/>
                  <a:moveTo>
                    <a:pt x="12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5">
              <a:extLst>
                <a:ext uri="{FF2B5EF4-FFF2-40B4-BE49-F238E27FC236}">
                  <a16:creationId xmlns:a16="http://schemas.microsoft.com/office/drawing/2014/main" id="{6C1EFCFD-1918-4C4B-9CE7-E8EFB1D43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3" y="739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2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5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6">
              <a:extLst>
                <a:ext uri="{FF2B5EF4-FFF2-40B4-BE49-F238E27FC236}">
                  <a16:creationId xmlns:a16="http://schemas.microsoft.com/office/drawing/2014/main" id="{E3276A80-6E12-C248-A63A-BDDBCB6DC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3" y="774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67">
              <a:extLst>
                <a:ext uri="{FF2B5EF4-FFF2-40B4-BE49-F238E27FC236}">
                  <a16:creationId xmlns:a16="http://schemas.microsoft.com/office/drawing/2014/main" id="{FA66DBB2-838B-4C4A-BA40-168FEF070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9" y="687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8">
              <a:extLst>
                <a:ext uri="{FF2B5EF4-FFF2-40B4-BE49-F238E27FC236}">
                  <a16:creationId xmlns:a16="http://schemas.microsoft.com/office/drawing/2014/main" id="{93019F76-8284-AF42-815A-EE8C56616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6" y="722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9">
              <a:extLst>
                <a:ext uri="{FF2B5EF4-FFF2-40B4-BE49-F238E27FC236}">
                  <a16:creationId xmlns:a16="http://schemas.microsoft.com/office/drawing/2014/main" id="{994737E9-AB00-4844-A2D9-02928087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2" y="600"/>
              <a:ext cx="54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0">
              <a:extLst>
                <a:ext uri="{FF2B5EF4-FFF2-40B4-BE49-F238E27FC236}">
                  <a16:creationId xmlns:a16="http://schemas.microsoft.com/office/drawing/2014/main" id="{31011639-86D2-1945-816C-189049420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714"/>
              <a:ext cx="99" cy="84"/>
            </a:xfrm>
            <a:custGeom>
              <a:avLst/>
              <a:gdLst>
                <a:gd name="T0" fmla="*/ 7 w 67"/>
                <a:gd name="T1" fmla="*/ 58 h 58"/>
                <a:gd name="T2" fmla="*/ 2 w 67"/>
                <a:gd name="T3" fmla="*/ 56 h 58"/>
                <a:gd name="T4" fmla="*/ 3 w 67"/>
                <a:gd name="T5" fmla="*/ 47 h 58"/>
                <a:gd name="T6" fmla="*/ 57 w 67"/>
                <a:gd name="T7" fmla="*/ 3 h 58"/>
                <a:gd name="T8" fmla="*/ 65 w 67"/>
                <a:gd name="T9" fmla="*/ 3 h 58"/>
                <a:gd name="T10" fmla="*/ 64 w 67"/>
                <a:gd name="T11" fmla="*/ 12 h 58"/>
                <a:gd name="T12" fmla="*/ 11 w 67"/>
                <a:gd name="T13" fmla="*/ 56 h 58"/>
                <a:gd name="T14" fmla="*/ 7 w 6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58">
                  <a:moveTo>
                    <a:pt x="7" y="58"/>
                  </a:moveTo>
                  <a:cubicBezTo>
                    <a:pt x="5" y="58"/>
                    <a:pt x="3" y="57"/>
                    <a:pt x="2" y="56"/>
                  </a:cubicBezTo>
                  <a:cubicBezTo>
                    <a:pt x="0" y="53"/>
                    <a:pt x="0" y="49"/>
                    <a:pt x="3" y="4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7" y="10"/>
                    <a:pt x="64" y="12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7"/>
                    <a:pt x="8" y="58"/>
                    <a:pt x="7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1">
              <a:extLst>
                <a:ext uri="{FF2B5EF4-FFF2-40B4-BE49-F238E27FC236}">
                  <a16:creationId xmlns:a16="http://schemas.microsoft.com/office/drawing/2014/main" id="{351419A5-CCB8-0F4A-A9D8-85EBBC43D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708"/>
              <a:ext cx="93" cy="44"/>
            </a:xfrm>
            <a:custGeom>
              <a:avLst/>
              <a:gdLst>
                <a:gd name="T0" fmla="*/ 57 w 63"/>
                <a:gd name="T1" fmla="*/ 30 h 30"/>
                <a:gd name="T2" fmla="*/ 55 w 63"/>
                <a:gd name="T3" fmla="*/ 29 h 30"/>
                <a:gd name="T4" fmla="*/ 5 w 63"/>
                <a:gd name="T5" fmla="*/ 13 h 30"/>
                <a:gd name="T6" fmla="*/ 1 w 63"/>
                <a:gd name="T7" fmla="*/ 5 h 30"/>
                <a:gd name="T8" fmla="*/ 9 w 63"/>
                <a:gd name="T9" fmla="*/ 2 h 30"/>
                <a:gd name="T10" fmla="*/ 58 w 63"/>
                <a:gd name="T11" fmla="*/ 18 h 30"/>
                <a:gd name="T12" fmla="*/ 62 w 63"/>
                <a:gd name="T13" fmla="*/ 26 h 30"/>
                <a:gd name="T14" fmla="*/ 57 w 6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0">
                  <a:moveTo>
                    <a:pt x="57" y="30"/>
                  </a:moveTo>
                  <a:cubicBezTo>
                    <a:pt x="56" y="30"/>
                    <a:pt x="55" y="30"/>
                    <a:pt x="55" y="2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6" y="0"/>
                    <a:pt x="9" y="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2" y="19"/>
                    <a:pt x="63" y="23"/>
                    <a:pt x="62" y="26"/>
                  </a:cubicBezTo>
                  <a:cubicBezTo>
                    <a:pt x="61" y="28"/>
                    <a:pt x="59" y="30"/>
                    <a:pt x="5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2">
              <a:extLst>
                <a:ext uri="{FF2B5EF4-FFF2-40B4-BE49-F238E27FC236}">
                  <a16:creationId xmlns:a16="http://schemas.microsoft.com/office/drawing/2014/main" id="{E9D27936-5D5D-614F-8C1C-7B1D6C8F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" y="630"/>
              <a:ext cx="103" cy="113"/>
            </a:xfrm>
            <a:custGeom>
              <a:avLst/>
              <a:gdLst>
                <a:gd name="T0" fmla="*/ 6 w 70"/>
                <a:gd name="T1" fmla="*/ 78 h 78"/>
                <a:gd name="T2" fmla="*/ 3 w 70"/>
                <a:gd name="T3" fmla="*/ 77 h 78"/>
                <a:gd name="T4" fmla="*/ 2 w 70"/>
                <a:gd name="T5" fmla="*/ 68 h 78"/>
                <a:gd name="T6" fmla="*/ 58 w 70"/>
                <a:gd name="T7" fmla="*/ 3 h 78"/>
                <a:gd name="T8" fmla="*/ 67 w 70"/>
                <a:gd name="T9" fmla="*/ 2 h 78"/>
                <a:gd name="T10" fmla="*/ 67 w 70"/>
                <a:gd name="T11" fmla="*/ 10 h 78"/>
                <a:gd name="T12" fmla="*/ 11 w 70"/>
                <a:gd name="T13" fmla="*/ 76 h 78"/>
                <a:gd name="T14" fmla="*/ 6 w 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8">
                  <a:moveTo>
                    <a:pt x="6" y="78"/>
                  </a:moveTo>
                  <a:cubicBezTo>
                    <a:pt x="5" y="78"/>
                    <a:pt x="4" y="78"/>
                    <a:pt x="3" y="77"/>
                  </a:cubicBezTo>
                  <a:cubicBezTo>
                    <a:pt x="0" y="75"/>
                    <a:pt x="0" y="71"/>
                    <a:pt x="2" y="68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69" y="4"/>
                    <a:pt x="70" y="8"/>
                    <a:pt x="67" y="1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8"/>
                    <a:pt x="8" y="78"/>
                    <a:pt x="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" name="Group 147">
            <a:extLst>
              <a:ext uri="{FF2B5EF4-FFF2-40B4-BE49-F238E27FC236}">
                <a16:creationId xmlns:a16="http://schemas.microsoft.com/office/drawing/2014/main" id="{1A45C7C7-247A-8046-A96E-AD1F982C8E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2982" y="4317934"/>
            <a:ext cx="492991" cy="480291"/>
            <a:chOff x="4660" y="3155"/>
            <a:chExt cx="427" cy="416"/>
          </a:xfrm>
          <a:solidFill>
            <a:schemeClr val="accent1"/>
          </a:solidFill>
        </p:grpSpPr>
        <p:sp>
          <p:nvSpPr>
            <p:cNvPr id="170" name="Freeform 148">
              <a:extLst>
                <a:ext uri="{FF2B5EF4-FFF2-40B4-BE49-F238E27FC236}">
                  <a16:creationId xmlns:a16="http://schemas.microsoft.com/office/drawing/2014/main" id="{8E8C409B-9E97-C84A-B9D3-A35AAE508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" y="3213"/>
              <a:ext cx="75" cy="72"/>
            </a:xfrm>
            <a:custGeom>
              <a:avLst/>
              <a:gdLst>
                <a:gd name="T0" fmla="*/ 7 w 51"/>
                <a:gd name="T1" fmla="*/ 50 h 50"/>
                <a:gd name="T2" fmla="*/ 3 w 51"/>
                <a:gd name="T3" fmla="*/ 48 h 50"/>
                <a:gd name="T4" fmla="*/ 3 w 51"/>
                <a:gd name="T5" fmla="*/ 40 h 50"/>
                <a:gd name="T6" fmla="*/ 40 w 51"/>
                <a:gd name="T7" fmla="*/ 3 h 50"/>
                <a:gd name="T8" fmla="*/ 49 w 51"/>
                <a:gd name="T9" fmla="*/ 3 h 50"/>
                <a:gd name="T10" fmla="*/ 49 w 51"/>
                <a:gd name="T11" fmla="*/ 11 h 50"/>
                <a:gd name="T12" fmla="*/ 11 w 51"/>
                <a:gd name="T13" fmla="*/ 48 h 50"/>
                <a:gd name="T14" fmla="*/ 7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7" y="50"/>
                  </a:moveTo>
                  <a:cubicBezTo>
                    <a:pt x="6" y="50"/>
                    <a:pt x="4" y="49"/>
                    <a:pt x="3" y="48"/>
                  </a:cubicBezTo>
                  <a:cubicBezTo>
                    <a:pt x="0" y="46"/>
                    <a:pt x="0" y="42"/>
                    <a:pt x="3" y="4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2" y="0"/>
                    <a:pt x="46" y="0"/>
                    <a:pt x="49" y="3"/>
                  </a:cubicBezTo>
                  <a:cubicBezTo>
                    <a:pt x="51" y="5"/>
                    <a:pt x="51" y="9"/>
                    <a:pt x="49" y="1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9"/>
                    <a:pt x="9" y="50"/>
                    <a:pt x="7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1" name="Freeform 149">
              <a:extLst>
                <a:ext uri="{FF2B5EF4-FFF2-40B4-BE49-F238E27FC236}">
                  <a16:creationId xmlns:a16="http://schemas.microsoft.com/office/drawing/2014/main" id="{DA0B5ECD-870E-4848-9CD3-F2A48AAED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2" name="Freeform 150">
              <a:extLst>
                <a:ext uri="{FF2B5EF4-FFF2-40B4-BE49-F238E27FC236}">
                  <a16:creationId xmlns:a16="http://schemas.microsoft.com/office/drawing/2014/main" id="{F35591AC-ECAA-6A44-8F99-819ED52E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0" y="3457"/>
              <a:ext cx="57" cy="55"/>
            </a:xfrm>
            <a:custGeom>
              <a:avLst/>
              <a:gdLst>
                <a:gd name="T0" fmla="*/ 32 w 39"/>
                <a:gd name="T1" fmla="*/ 38 h 38"/>
                <a:gd name="T2" fmla="*/ 28 w 39"/>
                <a:gd name="T3" fmla="*/ 36 h 38"/>
                <a:gd name="T4" fmla="*/ 2 w 39"/>
                <a:gd name="T5" fmla="*/ 11 h 38"/>
                <a:gd name="T6" fmla="*/ 2 w 39"/>
                <a:gd name="T7" fmla="*/ 2 h 38"/>
                <a:gd name="T8" fmla="*/ 11 w 39"/>
                <a:gd name="T9" fmla="*/ 2 h 38"/>
                <a:gd name="T10" fmla="*/ 36 w 39"/>
                <a:gd name="T11" fmla="*/ 28 h 38"/>
                <a:gd name="T12" fmla="*/ 36 w 39"/>
                <a:gd name="T13" fmla="*/ 36 h 38"/>
                <a:gd name="T14" fmla="*/ 32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32" y="38"/>
                  </a:moveTo>
                  <a:cubicBezTo>
                    <a:pt x="30" y="38"/>
                    <a:pt x="29" y="37"/>
                    <a:pt x="28" y="3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9" y="30"/>
                    <a:pt x="39" y="34"/>
                    <a:pt x="36" y="36"/>
                  </a:cubicBezTo>
                  <a:cubicBezTo>
                    <a:pt x="35" y="37"/>
                    <a:pt x="33" y="38"/>
                    <a:pt x="3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7C40EEF9-FCC2-A541-B120-A45140879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A9892F93-4546-3D4E-B74D-759D573B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213"/>
              <a:ext cx="75" cy="72"/>
            </a:xfrm>
            <a:custGeom>
              <a:avLst/>
              <a:gdLst>
                <a:gd name="T0" fmla="*/ 44 w 51"/>
                <a:gd name="T1" fmla="*/ 50 h 50"/>
                <a:gd name="T2" fmla="*/ 40 w 51"/>
                <a:gd name="T3" fmla="*/ 48 h 50"/>
                <a:gd name="T4" fmla="*/ 3 w 51"/>
                <a:gd name="T5" fmla="*/ 11 h 50"/>
                <a:gd name="T6" fmla="*/ 2 w 51"/>
                <a:gd name="T7" fmla="*/ 3 h 50"/>
                <a:gd name="T8" fmla="*/ 11 w 51"/>
                <a:gd name="T9" fmla="*/ 3 h 50"/>
                <a:gd name="T10" fmla="*/ 48 w 51"/>
                <a:gd name="T11" fmla="*/ 40 h 50"/>
                <a:gd name="T12" fmla="*/ 48 w 51"/>
                <a:gd name="T13" fmla="*/ 48 h 50"/>
                <a:gd name="T14" fmla="*/ 44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cubicBezTo>
                    <a:pt x="43" y="50"/>
                    <a:pt x="41" y="49"/>
                    <a:pt x="40" y="4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2"/>
                    <a:pt x="51" y="46"/>
                    <a:pt x="48" y="48"/>
                  </a:cubicBezTo>
                  <a:cubicBezTo>
                    <a:pt x="47" y="49"/>
                    <a:pt x="46" y="50"/>
                    <a:pt x="4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5" name="Freeform 153">
              <a:extLst>
                <a:ext uri="{FF2B5EF4-FFF2-40B4-BE49-F238E27FC236}">
                  <a16:creationId xmlns:a16="http://schemas.microsoft.com/office/drawing/2014/main" id="{FC0B3E8E-2558-BE41-ADEB-7D5023F6B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6" name="Freeform 154">
              <a:extLst>
                <a:ext uri="{FF2B5EF4-FFF2-40B4-BE49-F238E27FC236}">
                  <a16:creationId xmlns:a16="http://schemas.microsoft.com/office/drawing/2014/main" id="{AF5CD9F4-8D4C-B94E-A070-7BA0E2494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3457"/>
              <a:ext cx="56" cy="55"/>
            </a:xfrm>
            <a:custGeom>
              <a:avLst/>
              <a:gdLst>
                <a:gd name="T0" fmla="*/ 6 w 38"/>
                <a:gd name="T1" fmla="*/ 38 h 38"/>
                <a:gd name="T2" fmla="*/ 2 w 38"/>
                <a:gd name="T3" fmla="*/ 36 h 38"/>
                <a:gd name="T4" fmla="*/ 2 w 38"/>
                <a:gd name="T5" fmla="*/ 28 h 38"/>
                <a:gd name="T6" fmla="*/ 27 w 38"/>
                <a:gd name="T7" fmla="*/ 2 h 38"/>
                <a:gd name="T8" fmla="*/ 36 w 38"/>
                <a:gd name="T9" fmla="*/ 2 h 38"/>
                <a:gd name="T10" fmla="*/ 36 w 38"/>
                <a:gd name="T11" fmla="*/ 11 h 38"/>
                <a:gd name="T12" fmla="*/ 10 w 38"/>
                <a:gd name="T13" fmla="*/ 36 h 38"/>
                <a:gd name="T14" fmla="*/ 6 w 3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6" y="38"/>
                  </a:moveTo>
                  <a:cubicBezTo>
                    <a:pt x="5" y="38"/>
                    <a:pt x="3" y="37"/>
                    <a:pt x="2" y="36"/>
                  </a:cubicBezTo>
                  <a:cubicBezTo>
                    <a:pt x="0" y="34"/>
                    <a:pt x="0" y="30"/>
                    <a:pt x="2" y="2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3" y="0"/>
                    <a:pt x="36" y="2"/>
                  </a:cubicBezTo>
                  <a:cubicBezTo>
                    <a:pt x="38" y="4"/>
                    <a:pt x="38" y="8"/>
                    <a:pt x="36" y="11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8"/>
                    <a:pt x="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B1B15CB0-A7E5-BC4F-A0BC-F0DE234CC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8" name="Freeform 156">
              <a:extLst>
                <a:ext uri="{FF2B5EF4-FFF2-40B4-BE49-F238E27FC236}">
                  <a16:creationId xmlns:a16="http://schemas.microsoft.com/office/drawing/2014/main" id="{67AB54EA-1D00-BA41-A554-14265C9B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3346"/>
              <a:ext cx="72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7CFDB85D-494A-024F-86F2-B6983F221C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29B1044C-E2D2-6641-83C4-F6039E8C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3346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D04495BF-6265-7A4F-9624-AF37EE9A7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2" name="Oval 160">
              <a:extLst>
                <a:ext uri="{FF2B5EF4-FFF2-40B4-BE49-F238E27FC236}">
                  <a16:creationId xmlns:a16="http://schemas.microsoft.com/office/drawing/2014/main" id="{0DCD1D92-34C0-2940-9188-97E05488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0" y="3434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3" name="Freeform 161">
              <a:extLst>
                <a:ext uri="{FF2B5EF4-FFF2-40B4-BE49-F238E27FC236}">
                  <a16:creationId xmlns:a16="http://schemas.microsoft.com/office/drawing/2014/main" id="{7619177A-DB0B-F247-9FF6-F0476A03D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" y="3275"/>
              <a:ext cx="107" cy="146"/>
            </a:xfrm>
            <a:custGeom>
              <a:avLst/>
              <a:gdLst>
                <a:gd name="T0" fmla="*/ 36 w 72"/>
                <a:gd name="T1" fmla="*/ 101 h 101"/>
                <a:gd name="T2" fmla="*/ 30 w 72"/>
                <a:gd name="T3" fmla="*/ 95 h 101"/>
                <a:gd name="T4" fmla="*/ 30 w 72"/>
                <a:gd name="T5" fmla="*/ 65 h 101"/>
                <a:gd name="T6" fmla="*/ 36 w 72"/>
                <a:gd name="T7" fmla="*/ 59 h 101"/>
                <a:gd name="T8" fmla="*/ 60 w 72"/>
                <a:gd name="T9" fmla="*/ 36 h 101"/>
                <a:gd name="T10" fmla="*/ 36 w 72"/>
                <a:gd name="T11" fmla="*/ 12 h 101"/>
                <a:gd name="T12" fmla="*/ 12 w 72"/>
                <a:gd name="T13" fmla="*/ 36 h 101"/>
                <a:gd name="T14" fmla="*/ 6 w 72"/>
                <a:gd name="T15" fmla="*/ 42 h 101"/>
                <a:gd name="T16" fmla="*/ 0 w 72"/>
                <a:gd name="T17" fmla="*/ 36 h 101"/>
                <a:gd name="T18" fmla="*/ 36 w 72"/>
                <a:gd name="T19" fmla="*/ 0 h 101"/>
                <a:gd name="T20" fmla="*/ 72 w 72"/>
                <a:gd name="T21" fmla="*/ 36 h 101"/>
                <a:gd name="T22" fmla="*/ 42 w 72"/>
                <a:gd name="T23" fmla="*/ 71 h 101"/>
                <a:gd name="T24" fmla="*/ 42 w 72"/>
                <a:gd name="T25" fmla="*/ 95 h 101"/>
                <a:gd name="T26" fmla="*/ 36 w 72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01">
                  <a:moveTo>
                    <a:pt x="36" y="101"/>
                  </a:moveTo>
                  <a:cubicBezTo>
                    <a:pt x="33" y="101"/>
                    <a:pt x="30" y="99"/>
                    <a:pt x="30" y="9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2"/>
                    <a:pt x="33" y="59"/>
                    <a:pt x="36" y="59"/>
                  </a:cubicBezTo>
                  <a:cubicBezTo>
                    <a:pt x="49" y="59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3" y="12"/>
                    <a:pt x="12" y="23"/>
                    <a:pt x="12" y="36"/>
                  </a:cubicBezTo>
                  <a:cubicBezTo>
                    <a:pt x="12" y="39"/>
                    <a:pt x="10" y="42"/>
                    <a:pt x="6" y="42"/>
                  </a:cubicBezTo>
                  <a:cubicBezTo>
                    <a:pt x="3" y="42"/>
                    <a:pt x="0" y="39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3"/>
                    <a:pt x="59" y="68"/>
                    <a:pt x="42" y="71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9"/>
                    <a:pt x="39" y="101"/>
                    <a:pt x="3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85" name="Group 98">
            <a:extLst>
              <a:ext uri="{FF2B5EF4-FFF2-40B4-BE49-F238E27FC236}">
                <a16:creationId xmlns:a16="http://schemas.microsoft.com/office/drawing/2014/main" id="{7C33E39D-1B8D-8E4E-9D4F-DA8DD65CA1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3794" y="4324704"/>
            <a:ext cx="503382" cy="466750"/>
            <a:chOff x="348" y="3011"/>
            <a:chExt cx="426" cy="395"/>
          </a:xfrm>
          <a:solidFill>
            <a:schemeClr val="accent1"/>
          </a:solidFill>
        </p:grpSpPr>
        <p:sp>
          <p:nvSpPr>
            <p:cNvPr id="186" name="Freeform 99">
              <a:extLst>
                <a:ext uri="{FF2B5EF4-FFF2-40B4-BE49-F238E27FC236}">
                  <a16:creationId xmlns:a16="http://schemas.microsoft.com/office/drawing/2014/main" id="{AD8832E6-74B8-124A-AD34-263F9478B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3011"/>
              <a:ext cx="426" cy="395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2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4" y="267"/>
                    <a:pt x="13" y="267"/>
                    <a:pt x="12" y="265"/>
                  </a:cubicBezTo>
                  <a:cubicBezTo>
                    <a:pt x="10" y="263"/>
                    <a:pt x="9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2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6" y="225"/>
                    <a:pt x="276" y="178"/>
                    <a:pt x="276" y="119"/>
                  </a:cubicBezTo>
                  <a:cubicBezTo>
                    <a:pt x="276" y="60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7" name="Freeform 100">
              <a:extLst>
                <a:ext uri="{FF2B5EF4-FFF2-40B4-BE49-F238E27FC236}">
                  <a16:creationId xmlns:a16="http://schemas.microsoft.com/office/drawing/2014/main" id="{8A44DBE0-E9B2-D848-B6E3-CCE472D44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" y="3092"/>
              <a:ext cx="124" cy="145"/>
            </a:xfrm>
            <a:custGeom>
              <a:avLst/>
              <a:gdLst>
                <a:gd name="T0" fmla="*/ 42 w 84"/>
                <a:gd name="T1" fmla="*/ 98 h 98"/>
                <a:gd name="T2" fmla="*/ 36 w 84"/>
                <a:gd name="T3" fmla="*/ 92 h 98"/>
                <a:gd name="T4" fmla="*/ 36 w 84"/>
                <a:gd name="T5" fmla="*/ 77 h 98"/>
                <a:gd name="T6" fmla="*/ 42 w 84"/>
                <a:gd name="T7" fmla="*/ 71 h 98"/>
                <a:gd name="T8" fmla="*/ 72 w 84"/>
                <a:gd name="T9" fmla="*/ 42 h 98"/>
                <a:gd name="T10" fmla="*/ 42 w 84"/>
                <a:gd name="T11" fmla="*/ 12 h 98"/>
                <a:gd name="T12" fmla="*/ 12 w 84"/>
                <a:gd name="T13" fmla="*/ 43 h 98"/>
                <a:gd name="T14" fmla="*/ 6 w 84"/>
                <a:gd name="T15" fmla="*/ 49 h 98"/>
                <a:gd name="T16" fmla="*/ 0 w 84"/>
                <a:gd name="T17" fmla="*/ 43 h 98"/>
                <a:gd name="T18" fmla="*/ 42 w 84"/>
                <a:gd name="T19" fmla="*/ 0 h 98"/>
                <a:gd name="T20" fmla="*/ 84 w 84"/>
                <a:gd name="T21" fmla="*/ 42 h 98"/>
                <a:gd name="T22" fmla="*/ 48 w 84"/>
                <a:gd name="T23" fmla="*/ 83 h 98"/>
                <a:gd name="T24" fmla="*/ 48 w 84"/>
                <a:gd name="T25" fmla="*/ 92 h 98"/>
                <a:gd name="T26" fmla="*/ 42 w 84"/>
                <a:gd name="T2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8">
                  <a:moveTo>
                    <a:pt x="42" y="98"/>
                  </a:moveTo>
                  <a:cubicBezTo>
                    <a:pt x="38" y="98"/>
                    <a:pt x="36" y="95"/>
                    <a:pt x="36" y="92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4"/>
                    <a:pt x="38" y="71"/>
                    <a:pt x="42" y="71"/>
                  </a:cubicBezTo>
                  <a:cubicBezTo>
                    <a:pt x="58" y="71"/>
                    <a:pt x="72" y="58"/>
                    <a:pt x="72" y="42"/>
                  </a:cubicBezTo>
                  <a:cubicBezTo>
                    <a:pt x="72" y="25"/>
                    <a:pt x="58" y="12"/>
                    <a:pt x="42" y="12"/>
                  </a:cubicBezTo>
                  <a:cubicBezTo>
                    <a:pt x="25" y="12"/>
                    <a:pt x="12" y="26"/>
                    <a:pt x="12" y="43"/>
                  </a:cubicBezTo>
                  <a:cubicBezTo>
                    <a:pt x="12" y="46"/>
                    <a:pt x="9" y="49"/>
                    <a:pt x="6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2"/>
                    <a:pt x="68" y="80"/>
                    <a:pt x="48" y="83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5"/>
                    <a:pt x="45" y="98"/>
                    <a:pt x="4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8" name="Oval 101">
              <a:extLst>
                <a:ext uri="{FF2B5EF4-FFF2-40B4-BE49-F238E27FC236}">
                  <a16:creationId xmlns:a16="http://schemas.microsoft.com/office/drawing/2014/main" id="{AC4C9687-F04A-6D47-9FC0-46BA1393F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" y="3250"/>
              <a:ext cx="36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89" name="Group 133">
            <a:extLst>
              <a:ext uri="{FF2B5EF4-FFF2-40B4-BE49-F238E27FC236}">
                <a16:creationId xmlns:a16="http://schemas.microsoft.com/office/drawing/2014/main" id="{E59F227F-CDAA-2645-BBA5-7162A1A03A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996" y="4304038"/>
            <a:ext cx="508082" cy="508082"/>
            <a:chOff x="5508" y="2995"/>
            <a:chExt cx="427" cy="427"/>
          </a:xfrm>
          <a:solidFill>
            <a:schemeClr val="accent1"/>
          </a:solidFill>
        </p:grpSpPr>
        <p:sp>
          <p:nvSpPr>
            <p:cNvPr id="190" name="Freeform 134">
              <a:extLst>
                <a:ext uri="{FF2B5EF4-FFF2-40B4-BE49-F238E27FC236}">
                  <a16:creationId xmlns:a16="http://schemas.microsoft.com/office/drawing/2014/main" id="{B7172BEF-887A-9048-B469-007E20F8B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" y="2995"/>
              <a:ext cx="285" cy="249"/>
            </a:xfrm>
            <a:custGeom>
              <a:avLst/>
              <a:gdLst>
                <a:gd name="T0" fmla="*/ 90 w 192"/>
                <a:gd name="T1" fmla="*/ 168 h 168"/>
                <a:gd name="T2" fmla="*/ 87 w 192"/>
                <a:gd name="T3" fmla="*/ 168 h 168"/>
                <a:gd name="T4" fmla="*/ 84 w 192"/>
                <a:gd name="T5" fmla="*/ 162 h 168"/>
                <a:gd name="T6" fmla="*/ 84 w 192"/>
                <a:gd name="T7" fmla="*/ 120 h 168"/>
                <a:gd name="T8" fmla="*/ 72 w 192"/>
                <a:gd name="T9" fmla="*/ 120 h 168"/>
                <a:gd name="T10" fmla="*/ 72 w 192"/>
                <a:gd name="T11" fmla="*/ 108 h 168"/>
                <a:gd name="T12" fmla="*/ 90 w 192"/>
                <a:gd name="T13" fmla="*/ 108 h 168"/>
                <a:gd name="T14" fmla="*/ 96 w 192"/>
                <a:gd name="T15" fmla="*/ 114 h 168"/>
                <a:gd name="T16" fmla="*/ 96 w 192"/>
                <a:gd name="T17" fmla="*/ 148 h 168"/>
                <a:gd name="T18" fmla="*/ 138 w 192"/>
                <a:gd name="T19" fmla="*/ 110 h 168"/>
                <a:gd name="T20" fmla="*/ 142 w 192"/>
                <a:gd name="T21" fmla="*/ 108 h 168"/>
                <a:gd name="T22" fmla="*/ 180 w 192"/>
                <a:gd name="T23" fmla="*/ 108 h 168"/>
                <a:gd name="T24" fmla="*/ 180 w 192"/>
                <a:gd name="T25" fmla="*/ 12 h 168"/>
                <a:gd name="T26" fmla="*/ 12 w 192"/>
                <a:gd name="T27" fmla="*/ 12 h 168"/>
                <a:gd name="T28" fmla="*/ 12 w 192"/>
                <a:gd name="T29" fmla="*/ 54 h 168"/>
                <a:gd name="T30" fmla="*/ 0 w 192"/>
                <a:gd name="T31" fmla="*/ 54 h 168"/>
                <a:gd name="T32" fmla="*/ 0 w 192"/>
                <a:gd name="T33" fmla="*/ 6 h 168"/>
                <a:gd name="T34" fmla="*/ 6 w 192"/>
                <a:gd name="T35" fmla="*/ 0 h 168"/>
                <a:gd name="T36" fmla="*/ 186 w 192"/>
                <a:gd name="T37" fmla="*/ 0 h 168"/>
                <a:gd name="T38" fmla="*/ 192 w 192"/>
                <a:gd name="T39" fmla="*/ 6 h 168"/>
                <a:gd name="T40" fmla="*/ 192 w 192"/>
                <a:gd name="T41" fmla="*/ 114 h 168"/>
                <a:gd name="T42" fmla="*/ 186 w 192"/>
                <a:gd name="T43" fmla="*/ 120 h 168"/>
                <a:gd name="T44" fmla="*/ 144 w 192"/>
                <a:gd name="T45" fmla="*/ 120 h 168"/>
                <a:gd name="T46" fmla="*/ 94 w 192"/>
                <a:gd name="T47" fmla="*/ 166 h 168"/>
                <a:gd name="T48" fmla="*/ 90 w 192"/>
                <a:gd name="T4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68">
                  <a:moveTo>
                    <a:pt x="90" y="168"/>
                  </a:moveTo>
                  <a:cubicBezTo>
                    <a:pt x="89" y="168"/>
                    <a:pt x="88" y="168"/>
                    <a:pt x="87" y="168"/>
                  </a:cubicBezTo>
                  <a:cubicBezTo>
                    <a:pt x="85" y="167"/>
                    <a:pt x="84" y="164"/>
                    <a:pt x="84" y="162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3" y="108"/>
                    <a:pt x="96" y="111"/>
                    <a:pt x="96" y="114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138" y="110"/>
                    <a:pt x="138" y="110"/>
                    <a:pt x="138" y="110"/>
                  </a:cubicBezTo>
                  <a:cubicBezTo>
                    <a:pt x="139" y="109"/>
                    <a:pt x="140" y="108"/>
                    <a:pt x="142" y="108"/>
                  </a:cubicBezTo>
                  <a:cubicBezTo>
                    <a:pt x="180" y="108"/>
                    <a:pt x="180" y="108"/>
                    <a:pt x="180" y="108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117"/>
                    <a:pt x="189" y="120"/>
                    <a:pt x="186" y="120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3" y="167"/>
                    <a:pt x="91" y="168"/>
                    <a:pt x="90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1" name="Rectangle 135">
              <a:extLst>
                <a:ext uri="{FF2B5EF4-FFF2-40B4-BE49-F238E27FC236}">
                  <a16:creationId xmlns:a16="http://schemas.microsoft.com/office/drawing/2014/main" id="{1FB3B654-0FC6-174C-A116-B31706E9D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2" name="Rectangle 136">
              <a:extLst>
                <a:ext uri="{FF2B5EF4-FFF2-40B4-BE49-F238E27FC236}">
                  <a16:creationId xmlns:a16="http://schemas.microsoft.com/office/drawing/2014/main" id="{9946ABE7-23E6-9B4E-B0D7-4ECCCED32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3" y="3084"/>
              <a:ext cx="17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3" name="Rectangle 137">
              <a:extLst>
                <a:ext uri="{FF2B5EF4-FFF2-40B4-BE49-F238E27FC236}">
                  <a16:creationId xmlns:a16="http://schemas.microsoft.com/office/drawing/2014/main" id="{39F0F16D-8FEF-344E-AADA-A92E5B937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4" name="Freeform 138">
              <a:extLst>
                <a:ext uri="{FF2B5EF4-FFF2-40B4-BE49-F238E27FC236}">
                  <a16:creationId xmlns:a16="http://schemas.microsoft.com/office/drawing/2014/main" id="{FDA36911-8FD6-754B-8C4F-BF81FB344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3120"/>
              <a:ext cx="285" cy="302"/>
            </a:xfrm>
            <a:custGeom>
              <a:avLst/>
              <a:gdLst>
                <a:gd name="T0" fmla="*/ 186 w 192"/>
                <a:gd name="T1" fmla="*/ 204 h 204"/>
                <a:gd name="T2" fmla="*/ 6 w 192"/>
                <a:gd name="T3" fmla="*/ 204 h 204"/>
                <a:gd name="T4" fmla="*/ 0 w 192"/>
                <a:gd name="T5" fmla="*/ 198 h 204"/>
                <a:gd name="T6" fmla="*/ 0 w 192"/>
                <a:gd name="T7" fmla="*/ 168 h 204"/>
                <a:gd name="T8" fmla="*/ 25 w 192"/>
                <a:gd name="T9" fmla="*/ 147 h 204"/>
                <a:gd name="T10" fmla="*/ 66 w 192"/>
                <a:gd name="T11" fmla="*/ 128 h 204"/>
                <a:gd name="T12" fmla="*/ 66 w 192"/>
                <a:gd name="T13" fmla="*/ 111 h 204"/>
                <a:gd name="T14" fmla="*/ 54 w 192"/>
                <a:gd name="T15" fmla="*/ 83 h 204"/>
                <a:gd name="T16" fmla="*/ 45 w 192"/>
                <a:gd name="T17" fmla="*/ 66 h 204"/>
                <a:gd name="T18" fmla="*/ 52 w 192"/>
                <a:gd name="T19" fmla="*/ 50 h 204"/>
                <a:gd name="T20" fmla="*/ 49 w 192"/>
                <a:gd name="T21" fmla="*/ 22 h 204"/>
                <a:gd name="T22" fmla="*/ 61 w 192"/>
                <a:gd name="T23" fmla="*/ 18 h 204"/>
                <a:gd name="T24" fmla="*/ 101 w 192"/>
                <a:gd name="T25" fmla="*/ 0 h 204"/>
                <a:gd name="T26" fmla="*/ 142 w 192"/>
                <a:gd name="T27" fmla="*/ 23 h 204"/>
                <a:gd name="T28" fmla="*/ 139 w 192"/>
                <a:gd name="T29" fmla="*/ 51 h 204"/>
                <a:gd name="T30" fmla="*/ 142 w 192"/>
                <a:gd name="T31" fmla="*/ 54 h 204"/>
                <a:gd name="T32" fmla="*/ 144 w 192"/>
                <a:gd name="T33" fmla="*/ 65 h 204"/>
                <a:gd name="T34" fmla="*/ 137 w 192"/>
                <a:gd name="T35" fmla="*/ 82 h 204"/>
                <a:gd name="T36" fmla="*/ 126 w 192"/>
                <a:gd name="T37" fmla="*/ 111 h 204"/>
                <a:gd name="T38" fmla="*/ 126 w 192"/>
                <a:gd name="T39" fmla="*/ 128 h 204"/>
                <a:gd name="T40" fmla="*/ 167 w 192"/>
                <a:gd name="T41" fmla="*/ 147 h 204"/>
                <a:gd name="T42" fmla="*/ 192 w 192"/>
                <a:gd name="T43" fmla="*/ 168 h 204"/>
                <a:gd name="T44" fmla="*/ 192 w 192"/>
                <a:gd name="T45" fmla="*/ 198 h 204"/>
                <a:gd name="T46" fmla="*/ 186 w 192"/>
                <a:gd name="T47" fmla="*/ 204 h 204"/>
                <a:gd name="T48" fmla="*/ 12 w 192"/>
                <a:gd name="T49" fmla="*/ 192 h 204"/>
                <a:gd name="T50" fmla="*/ 180 w 192"/>
                <a:gd name="T51" fmla="*/ 192 h 204"/>
                <a:gd name="T52" fmla="*/ 180 w 192"/>
                <a:gd name="T53" fmla="*/ 169 h 204"/>
                <a:gd name="T54" fmla="*/ 118 w 192"/>
                <a:gd name="T55" fmla="*/ 138 h 204"/>
                <a:gd name="T56" fmla="*/ 114 w 192"/>
                <a:gd name="T57" fmla="*/ 132 h 204"/>
                <a:gd name="T58" fmla="*/ 114 w 192"/>
                <a:gd name="T59" fmla="*/ 108 h 204"/>
                <a:gd name="T60" fmla="*/ 118 w 192"/>
                <a:gd name="T61" fmla="*/ 102 h 204"/>
                <a:gd name="T62" fmla="*/ 118 w 192"/>
                <a:gd name="T63" fmla="*/ 102 h 204"/>
                <a:gd name="T64" fmla="*/ 125 w 192"/>
                <a:gd name="T65" fmla="*/ 78 h 204"/>
                <a:gd name="T66" fmla="*/ 130 w 192"/>
                <a:gd name="T67" fmla="*/ 72 h 204"/>
                <a:gd name="T68" fmla="*/ 132 w 192"/>
                <a:gd name="T69" fmla="*/ 61 h 204"/>
                <a:gd name="T70" fmla="*/ 131 w 192"/>
                <a:gd name="T71" fmla="*/ 60 h 204"/>
                <a:gd name="T72" fmla="*/ 125 w 192"/>
                <a:gd name="T73" fmla="*/ 54 h 204"/>
                <a:gd name="T74" fmla="*/ 127 w 192"/>
                <a:gd name="T75" fmla="*/ 48 h 204"/>
                <a:gd name="T76" fmla="*/ 130 w 192"/>
                <a:gd name="T77" fmla="*/ 25 h 204"/>
                <a:gd name="T78" fmla="*/ 101 w 192"/>
                <a:gd name="T79" fmla="*/ 12 h 204"/>
                <a:gd name="T80" fmla="*/ 71 w 192"/>
                <a:gd name="T81" fmla="*/ 25 h 204"/>
                <a:gd name="T82" fmla="*/ 64 w 192"/>
                <a:gd name="T83" fmla="*/ 30 h 204"/>
                <a:gd name="T84" fmla="*/ 58 w 192"/>
                <a:gd name="T85" fmla="*/ 30 h 204"/>
                <a:gd name="T86" fmla="*/ 63 w 192"/>
                <a:gd name="T87" fmla="*/ 46 h 204"/>
                <a:gd name="T88" fmla="*/ 66 w 192"/>
                <a:gd name="T89" fmla="*/ 54 h 204"/>
                <a:gd name="T90" fmla="*/ 60 w 192"/>
                <a:gd name="T91" fmla="*/ 60 h 204"/>
                <a:gd name="T92" fmla="*/ 57 w 192"/>
                <a:gd name="T93" fmla="*/ 66 h 204"/>
                <a:gd name="T94" fmla="*/ 60 w 192"/>
                <a:gd name="T95" fmla="*/ 72 h 204"/>
                <a:gd name="T96" fmla="*/ 66 w 192"/>
                <a:gd name="T97" fmla="*/ 78 h 204"/>
                <a:gd name="T98" fmla="*/ 74 w 192"/>
                <a:gd name="T99" fmla="*/ 102 h 204"/>
                <a:gd name="T100" fmla="*/ 78 w 192"/>
                <a:gd name="T101" fmla="*/ 108 h 204"/>
                <a:gd name="T102" fmla="*/ 78 w 192"/>
                <a:gd name="T103" fmla="*/ 132 h 204"/>
                <a:gd name="T104" fmla="*/ 74 w 192"/>
                <a:gd name="T105" fmla="*/ 138 h 204"/>
                <a:gd name="T106" fmla="*/ 12 w 192"/>
                <a:gd name="T107" fmla="*/ 169 h 204"/>
                <a:gd name="T108" fmla="*/ 12 w 192"/>
                <a:gd name="T109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2" h="204">
                  <a:moveTo>
                    <a:pt x="186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64"/>
                    <a:pt x="2" y="159"/>
                    <a:pt x="25" y="147"/>
                  </a:cubicBezTo>
                  <a:cubicBezTo>
                    <a:pt x="36" y="141"/>
                    <a:pt x="51" y="134"/>
                    <a:pt x="66" y="12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61" y="108"/>
                    <a:pt x="55" y="100"/>
                    <a:pt x="54" y="83"/>
                  </a:cubicBezTo>
                  <a:cubicBezTo>
                    <a:pt x="48" y="80"/>
                    <a:pt x="45" y="74"/>
                    <a:pt x="45" y="66"/>
                  </a:cubicBezTo>
                  <a:cubicBezTo>
                    <a:pt x="45" y="59"/>
                    <a:pt x="48" y="53"/>
                    <a:pt x="52" y="50"/>
                  </a:cubicBezTo>
                  <a:cubicBezTo>
                    <a:pt x="48" y="42"/>
                    <a:pt x="43" y="30"/>
                    <a:pt x="49" y="22"/>
                  </a:cubicBezTo>
                  <a:cubicBezTo>
                    <a:pt x="52" y="19"/>
                    <a:pt x="56" y="17"/>
                    <a:pt x="61" y="18"/>
                  </a:cubicBezTo>
                  <a:cubicBezTo>
                    <a:pt x="68" y="5"/>
                    <a:pt x="86" y="0"/>
                    <a:pt x="101" y="0"/>
                  </a:cubicBezTo>
                  <a:cubicBezTo>
                    <a:pt x="117" y="0"/>
                    <a:pt x="138" y="6"/>
                    <a:pt x="142" y="23"/>
                  </a:cubicBezTo>
                  <a:cubicBezTo>
                    <a:pt x="145" y="34"/>
                    <a:pt x="141" y="44"/>
                    <a:pt x="139" y="51"/>
                  </a:cubicBezTo>
                  <a:cubicBezTo>
                    <a:pt x="140" y="52"/>
                    <a:pt x="141" y="53"/>
                    <a:pt x="142" y="54"/>
                  </a:cubicBezTo>
                  <a:cubicBezTo>
                    <a:pt x="143" y="57"/>
                    <a:pt x="144" y="61"/>
                    <a:pt x="144" y="65"/>
                  </a:cubicBezTo>
                  <a:cubicBezTo>
                    <a:pt x="144" y="72"/>
                    <a:pt x="142" y="79"/>
                    <a:pt x="137" y="82"/>
                  </a:cubicBezTo>
                  <a:cubicBezTo>
                    <a:pt x="136" y="100"/>
                    <a:pt x="130" y="108"/>
                    <a:pt x="126" y="111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40" y="134"/>
                    <a:pt x="155" y="141"/>
                    <a:pt x="167" y="147"/>
                  </a:cubicBezTo>
                  <a:cubicBezTo>
                    <a:pt x="190" y="159"/>
                    <a:pt x="192" y="164"/>
                    <a:pt x="192" y="168"/>
                  </a:cubicBezTo>
                  <a:cubicBezTo>
                    <a:pt x="192" y="198"/>
                    <a:pt x="192" y="198"/>
                    <a:pt x="192" y="198"/>
                  </a:cubicBezTo>
                  <a:cubicBezTo>
                    <a:pt x="192" y="201"/>
                    <a:pt x="189" y="204"/>
                    <a:pt x="186" y="204"/>
                  </a:cubicBezTo>
                  <a:close/>
                  <a:moveTo>
                    <a:pt x="12" y="192"/>
                  </a:moveTo>
                  <a:cubicBezTo>
                    <a:pt x="180" y="192"/>
                    <a:pt x="180" y="192"/>
                    <a:pt x="180" y="192"/>
                  </a:cubicBezTo>
                  <a:cubicBezTo>
                    <a:pt x="180" y="169"/>
                    <a:pt x="180" y="169"/>
                    <a:pt x="180" y="169"/>
                  </a:cubicBezTo>
                  <a:cubicBezTo>
                    <a:pt x="175" y="164"/>
                    <a:pt x="149" y="150"/>
                    <a:pt x="118" y="138"/>
                  </a:cubicBezTo>
                  <a:cubicBezTo>
                    <a:pt x="115" y="137"/>
                    <a:pt x="114" y="134"/>
                    <a:pt x="114" y="132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6"/>
                    <a:pt x="115" y="103"/>
                    <a:pt x="11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02"/>
                    <a:pt x="125" y="98"/>
                    <a:pt x="125" y="78"/>
                  </a:cubicBezTo>
                  <a:cubicBezTo>
                    <a:pt x="125" y="75"/>
                    <a:pt x="127" y="72"/>
                    <a:pt x="130" y="72"/>
                  </a:cubicBezTo>
                  <a:cubicBezTo>
                    <a:pt x="132" y="71"/>
                    <a:pt x="133" y="65"/>
                    <a:pt x="132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27" y="60"/>
                    <a:pt x="125" y="57"/>
                    <a:pt x="125" y="54"/>
                  </a:cubicBezTo>
                  <a:cubicBezTo>
                    <a:pt x="125" y="52"/>
                    <a:pt x="125" y="51"/>
                    <a:pt x="127" y="48"/>
                  </a:cubicBezTo>
                  <a:cubicBezTo>
                    <a:pt x="129" y="43"/>
                    <a:pt x="133" y="34"/>
                    <a:pt x="130" y="25"/>
                  </a:cubicBezTo>
                  <a:cubicBezTo>
                    <a:pt x="128" y="17"/>
                    <a:pt x="114" y="12"/>
                    <a:pt x="101" y="12"/>
                  </a:cubicBezTo>
                  <a:cubicBezTo>
                    <a:pt x="87" y="12"/>
                    <a:pt x="73" y="17"/>
                    <a:pt x="71" y="25"/>
                  </a:cubicBezTo>
                  <a:cubicBezTo>
                    <a:pt x="70" y="29"/>
                    <a:pt x="67" y="31"/>
                    <a:pt x="64" y="30"/>
                  </a:cubicBezTo>
                  <a:cubicBezTo>
                    <a:pt x="60" y="29"/>
                    <a:pt x="58" y="30"/>
                    <a:pt x="58" y="30"/>
                  </a:cubicBezTo>
                  <a:cubicBezTo>
                    <a:pt x="58" y="31"/>
                    <a:pt x="58" y="35"/>
                    <a:pt x="63" y="46"/>
                  </a:cubicBezTo>
                  <a:cubicBezTo>
                    <a:pt x="65" y="50"/>
                    <a:pt x="66" y="52"/>
                    <a:pt x="66" y="54"/>
                  </a:cubicBezTo>
                  <a:cubicBezTo>
                    <a:pt x="66" y="57"/>
                    <a:pt x="63" y="60"/>
                    <a:pt x="60" y="60"/>
                  </a:cubicBezTo>
                  <a:cubicBezTo>
                    <a:pt x="58" y="60"/>
                    <a:pt x="57" y="64"/>
                    <a:pt x="57" y="66"/>
                  </a:cubicBezTo>
                  <a:cubicBezTo>
                    <a:pt x="57" y="69"/>
                    <a:pt x="58" y="72"/>
                    <a:pt x="60" y="72"/>
                  </a:cubicBezTo>
                  <a:cubicBezTo>
                    <a:pt x="63" y="72"/>
                    <a:pt x="66" y="75"/>
                    <a:pt x="66" y="78"/>
                  </a:cubicBezTo>
                  <a:cubicBezTo>
                    <a:pt x="66" y="98"/>
                    <a:pt x="74" y="102"/>
                    <a:pt x="74" y="102"/>
                  </a:cubicBezTo>
                  <a:cubicBezTo>
                    <a:pt x="76" y="103"/>
                    <a:pt x="78" y="105"/>
                    <a:pt x="78" y="108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4"/>
                    <a:pt x="76" y="137"/>
                    <a:pt x="74" y="138"/>
                  </a:cubicBezTo>
                  <a:cubicBezTo>
                    <a:pt x="43" y="150"/>
                    <a:pt x="16" y="164"/>
                    <a:pt x="12" y="169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0" name="Group 128">
            <a:extLst>
              <a:ext uri="{FF2B5EF4-FFF2-40B4-BE49-F238E27FC236}">
                <a16:creationId xmlns:a16="http://schemas.microsoft.com/office/drawing/2014/main" id="{22F35C7D-7426-D643-BA01-1D590EC158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55661" y="4309988"/>
            <a:ext cx="506890" cy="496182"/>
            <a:chOff x="4478" y="2999"/>
            <a:chExt cx="426" cy="417"/>
          </a:xfrm>
          <a:solidFill>
            <a:schemeClr val="accent1"/>
          </a:solidFill>
        </p:grpSpPr>
        <p:sp>
          <p:nvSpPr>
            <p:cNvPr id="211" name="Freeform 129">
              <a:extLst>
                <a:ext uri="{FF2B5EF4-FFF2-40B4-BE49-F238E27FC236}">
                  <a16:creationId xmlns:a16="http://schemas.microsoft.com/office/drawing/2014/main" id="{EB8F390E-DD96-5545-9F4B-5D56F498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999"/>
              <a:ext cx="320" cy="293"/>
            </a:xfrm>
            <a:custGeom>
              <a:avLst/>
              <a:gdLst>
                <a:gd name="T0" fmla="*/ 12 w 216"/>
                <a:gd name="T1" fmla="*/ 198 h 198"/>
                <a:gd name="T2" fmla="*/ 7 w 216"/>
                <a:gd name="T3" fmla="*/ 196 h 198"/>
                <a:gd name="T4" fmla="*/ 6 w 216"/>
                <a:gd name="T5" fmla="*/ 189 h 198"/>
                <a:gd name="T6" fmla="*/ 28 w 216"/>
                <a:gd name="T7" fmla="*/ 151 h 198"/>
                <a:gd name="T8" fmla="*/ 0 w 216"/>
                <a:gd name="T9" fmla="*/ 89 h 198"/>
                <a:gd name="T10" fmla="*/ 108 w 216"/>
                <a:gd name="T11" fmla="*/ 0 h 198"/>
                <a:gd name="T12" fmla="*/ 216 w 216"/>
                <a:gd name="T13" fmla="*/ 89 h 198"/>
                <a:gd name="T14" fmla="*/ 204 w 216"/>
                <a:gd name="T15" fmla="*/ 89 h 198"/>
                <a:gd name="T16" fmla="*/ 108 w 216"/>
                <a:gd name="T17" fmla="*/ 12 h 198"/>
                <a:gd name="T18" fmla="*/ 12 w 216"/>
                <a:gd name="T19" fmla="*/ 89 h 198"/>
                <a:gd name="T20" fmla="*/ 39 w 216"/>
                <a:gd name="T21" fmla="*/ 145 h 198"/>
                <a:gd name="T22" fmla="*/ 41 w 216"/>
                <a:gd name="T23" fmla="*/ 153 h 198"/>
                <a:gd name="T24" fmla="*/ 25 w 216"/>
                <a:gd name="T25" fmla="*/ 180 h 198"/>
                <a:gd name="T26" fmla="*/ 69 w 216"/>
                <a:gd name="T27" fmla="*/ 162 h 198"/>
                <a:gd name="T28" fmla="*/ 73 w 216"/>
                <a:gd name="T29" fmla="*/ 162 h 198"/>
                <a:gd name="T30" fmla="*/ 90 w 216"/>
                <a:gd name="T31" fmla="*/ 166 h 198"/>
                <a:gd name="T32" fmla="*/ 88 w 216"/>
                <a:gd name="T33" fmla="*/ 178 h 198"/>
                <a:gd name="T34" fmla="*/ 72 w 216"/>
                <a:gd name="T35" fmla="*/ 174 h 198"/>
                <a:gd name="T36" fmla="*/ 14 w 216"/>
                <a:gd name="T37" fmla="*/ 198 h 198"/>
                <a:gd name="T38" fmla="*/ 12 w 216"/>
                <a:gd name="T3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198">
                  <a:moveTo>
                    <a:pt x="12" y="198"/>
                  </a:moveTo>
                  <a:cubicBezTo>
                    <a:pt x="10" y="198"/>
                    <a:pt x="8" y="197"/>
                    <a:pt x="7" y="196"/>
                  </a:cubicBezTo>
                  <a:cubicBezTo>
                    <a:pt x="5" y="194"/>
                    <a:pt x="5" y="191"/>
                    <a:pt x="6" y="189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10" y="135"/>
                    <a:pt x="0" y="113"/>
                    <a:pt x="0" y="89"/>
                  </a:cubicBezTo>
                  <a:cubicBezTo>
                    <a:pt x="0" y="40"/>
                    <a:pt x="48" y="0"/>
                    <a:pt x="108" y="0"/>
                  </a:cubicBezTo>
                  <a:cubicBezTo>
                    <a:pt x="167" y="0"/>
                    <a:pt x="216" y="40"/>
                    <a:pt x="216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4" y="47"/>
                    <a:pt x="161" y="12"/>
                    <a:pt x="108" y="12"/>
                  </a:cubicBezTo>
                  <a:cubicBezTo>
                    <a:pt x="55" y="12"/>
                    <a:pt x="12" y="47"/>
                    <a:pt x="12" y="89"/>
                  </a:cubicBezTo>
                  <a:cubicBezTo>
                    <a:pt x="12" y="111"/>
                    <a:pt x="22" y="131"/>
                    <a:pt x="39" y="145"/>
                  </a:cubicBezTo>
                  <a:cubicBezTo>
                    <a:pt x="42" y="147"/>
                    <a:pt x="42" y="150"/>
                    <a:pt x="41" y="153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71" y="162"/>
                    <a:pt x="72" y="162"/>
                    <a:pt x="73" y="162"/>
                  </a:cubicBezTo>
                  <a:cubicBezTo>
                    <a:pt x="79" y="164"/>
                    <a:pt x="84" y="165"/>
                    <a:pt x="90" y="166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3" y="177"/>
                    <a:pt x="77" y="176"/>
                    <a:pt x="72" y="174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13" y="198"/>
                    <a:pt x="12" y="198"/>
                    <a:pt x="1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12" name="Freeform 130">
              <a:extLst>
                <a:ext uri="{FF2B5EF4-FFF2-40B4-BE49-F238E27FC236}">
                  <a16:creationId xmlns:a16="http://schemas.microsoft.com/office/drawing/2014/main" id="{7E54516C-265B-F84F-9AC7-C2472BCC1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8" y="3167"/>
              <a:ext cx="266" cy="249"/>
            </a:xfrm>
            <a:custGeom>
              <a:avLst/>
              <a:gdLst>
                <a:gd name="T0" fmla="*/ 168 w 180"/>
                <a:gd name="T1" fmla="*/ 168 h 168"/>
                <a:gd name="T2" fmla="*/ 166 w 180"/>
                <a:gd name="T3" fmla="*/ 168 h 168"/>
                <a:gd name="T4" fmla="*/ 120 w 180"/>
                <a:gd name="T5" fmla="*/ 151 h 168"/>
                <a:gd name="T6" fmla="*/ 37 w 180"/>
                <a:gd name="T7" fmla="*/ 143 h 168"/>
                <a:gd name="T8" fmla="*/ 0 w 180"/>
                <a:gd name="T9" fmla="*/ 78 h 168"/>
                <a:gd name="T10" fmla="*/ 90 w 180"/>
                <a:gd name="T11" fmla="*/ 0 h 168"/>
                <a:gd name="T12" fmla="*/ 180 w 180"/>
                <a:gd name="T13" fmla="*/ 78 h 168"/>
                <a:gd name="T14" fmla="*/ 157 w 180"/>
                <a:gd name="T15" fmla="*/ 128 h 168"/>
                <a:gd name="T16" fmla="*/ 173 w 180"/>
                <a:gd name="T17" fmla="*/ 159 h 168"/>
                <a:gd name="T18" fmla="*/ 172 w 180"/>
                <a:gd name="T19" fmla="*/ 166 h 168"/>
                <a:gd name="T20" fmla="*/ 168 w 180"/>
                <a:gd name="T21" fmla="*/ 168 h 168"/>
                <a:gd name="T22" fmla="*/ 120 w 180"/>
                <a:gd name="T23" fmla="*/ 138 h 168"/>
                <a:gd name="T24" fmla="*/ 122 w 180"/>
                <a:gd name="T25" fmla="*/ 138 h 168"/>
                <a:gd name="T26" fmla="*/ 155 w 180"/>
                <a:gd name="T27" fmla="*/ 151 h 168"/>
                <a:gd name="T28" fmla="*/ 144 w 180"/>
                <a:gd name="T29" fmla="*/ 129 h 168"/>
                <a:gd name="T30" fmla="*/ 146 w 180"/>
                <a:gd name="T31" fmla="*/ 121 h 168"/>
                <a:gd name="T32" fmla="*/ 168 w 180"/>
                <a:gd name="T33" fmla="*/ 78 h 168"/>
                <a:gd name="T34" fmla="*/ 90 w 180"/>
                <a:gd name="T35" fmla="*/ 12 h 168"/>
                <a:gd name="T36" fmla="*/ 12 w 180"/>
                <a:gd name="T37" fmla="*/ 78 h 168"/>
                <a:gd name="T38" fmla="*/ 43 w 180"/>
                <a:gd name="T39" fmla="*/ 133 h 168"/>
                <a:gd name="T40" fmla="*/ 117 w 180"/>
                <a:gd name="T41" fmla="*/ 139 h 168"/>
                <a:gd name="T42" fmla="*/ 120 w 180"/>
                <a:gd name="T43" fmla="*/ 1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68">
                  <a:moveTo>
                    <a:pt x="168" y="168"/>
                  </a:moveTo>
                  <a:cubicBezTo>
                    <a:pt x="167" y="168"/>
                    <a:pt x="166" y="168"/>
                    <a:pt x="166" y="168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92" y="162"/>
                    <a:pt x="62" y="159"/>
                    <a:pt x="37" y="143"/>
                  </a:cubicBezTo>
                  <a:cubicBezTo>
                    <a:pt x="13" y="128"/>
                    <a:pt x="0" y="104"/>
                    <a:pt x="0" y="78"/>
                  </a:cubicBezTo>
                  <a:cubicBezTo>
                    <a:pt x="0" y="36"/>
                    <a:pt x="41" y="0"/>
                    <a:pt x="90" y="0"/>
                  </a:cubicBezTo>
                  <a:cubicBezTo>
                    <a:pt x="138" y="0"/>
                    <a:pt x="180" y="36"/>
                    <a:pt x="180" y="78"/>
                  </a:cubicBezTo>
                  <a:cubicBezTo>
                    <a:pt x="180" y="97"/>
                    <a:pt x="172" y="114"/>
                    <a:pt x="157" y="12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4" y="162"/>
                    <a:pt x="174" y="164"/>
                    <a:pt x="172" y="166"/>
                  </a:cubicBezTo>
                  <a:cubicBezTo>
                    <a:pt x="171" y="167"/>
                    <a:pt x="169" y="168"/>
                    <a:pt x="168" y="168"/>
                  </a:cubicBezTo>
                  <a:close/>
                  <a:moveTo>
                    <a:pt x="120" y="138"/>
                  </a:moveTo>
                  <a:cubicBezTo>
                    <a:pt x="120" y="138"/>
                    <a:pt x="121" y="138"/>
                    <a:pt x="122" y="138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6"/>
                    <a:pt x="144" y="123"/>
                    <a:pt x="146" y="121"/>
                  </a:cubicBezTo>
                  <a:cubicBezTo>
                    <a:pt x="160" y="110"/>
                    <a:pt x="168" y="95"/>
                    <a:pt x="168" y="78"/>
                  </a:cubicBezTo>
                  <a:cubicBezTo>
                    <a:pt x="168" y="42"/>
                    <a:pt x="132" y="12"/>
                    <a:pt x="90" y="12"/>
                  </a:cubicBezTo>
                  <a:cubicBezTo>
                    <a:pt x="47" y="12"/>
                    <a:pt x="12" y="42"/>
                    <a:pt x="12" y="78"/>
                  </a:cubicBezTo>
                  <a:cubicBezTo>
                    <a:pt x="12" y="99"/>
                    <a:pt x="23" y="120"/>
                    <a:pt x="43" y="133"/>
                  </a:cubicBezTo>
                  <a:cubicBezTo>
                    <a:pt x="65" y="147"/>
                    <a:pt x="93" y="149"/>
                    <a:pt x="117" y="139"/>
                  </a:cubicBezTo>
                  <a:cubicBezTo>
                    <a:pt x="118" y="138"/>
                    <a:pt x="119" y="138"/>
                    <a:pt x="12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8" name="Group 4">
            <a:extLst>
              <a:ext uri="{FF2B5EF4-FFF2-40B4-BE49-F238E27FC236}">
                <a16:creationId xmlns:a16="http://schemas.microsoft.com/office/drawing/2014/main" id="{6624F93D-A5D3-9049-9233-B5F6165978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1933" y="3163253"/>
            <a:ext cx="495324" cy="388938"/>
            <a:chOff x="526" y="708"/>
            <a:chExt cx="433" cy="340"/>
          </a:xfrm>
          <a:solidFill>
            <a:schemeClr val="accent1"/>
          </a:solidFill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2E8CDAC4-7731-2447-B17D-B9E13B8CE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A2C94C49-2544-FA47-B321-D1783FB6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7">
              <a:extLst>
                <a:ext uri="{FF2B5EF4-FFF2-40B4-BE49-F238E27FC236}">
                  <a16:creationId xmlns:a16="http://schemas.microsoft.com/office/drawing/2014/main" id="{781D715F-F7E0-F543-B710-788014F0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8">
              <a:extLst>
                <a:ext uri="{FF2B5EF4-FFF2-40B4-BE49-F238E27FC236}">
                  <a16:creationId xmlns:a16="http://schemas.microsoft.com/office/drawing/2014/main" id="{0449EDE6-204A-E142-A345-649467F3C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">
              <a:extLst>
                <a:ext uri="{FF2B5EF4-FFF2-40B4-BE49-F238E27FC236}">
                  <a16:creationId xmlns:a16="http://schemas.microsoft.com/office/drawing/2014/main" id="{E4CF1E8A-68D5-C344-B526-2ACB3B2BED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0">
              <a:extLst>
                <a:ext uri="{FF2B5EF4-FFF2-40B4-BE49-F238E27FC236}">
                  <a16:creationId xmlns:a16="http://schemas.microsoft.com/office/drawing/2014/main" id="{58AF212D-5CEA-A842-96AF-38B28258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1">
              <a:extLst>
                <a:ext uri="{FF2B5EF4-FFF2-40B4-BE49-F238E27FC236}">
                  <a16:creationId xmlns:a16="http://schemas.microsoft.com/office/drawing/2014/main" id="{9067C848-4E37-864F-8284-E48FC9AB4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2">
              <a:extLst>
                <a:ext uri="{FF2B5EF4-FFF2-40B4-BE49-F238E27FC236}">
                  <a16:creationId xmlns:a16="http://schemas.microsoft.com/office/drawing/2014/main" id="{9A7B4980-F4B3-A149-A900-28415FEB8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3">
              <a:extLst>
                <a:ext uri="{FF2B5EF4-FFF2-40B4-BE49-F238E27FC236}">
                  <a16:creationId xmlns:a16="http://schemas.microsoft.com/office/drawing/2014/main" id="{CD6B0A6B-597F-4E4C-A0FC-EFC38B204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4" name="Group 127">
            <a:extLst>
              <a:ext uri="{FF2B5EF4-FFF2-40B4-BE49-F238E27FC236}">
                <a16:creationId xmlns:a16="http://schemas.microsoft.com/office/drawing/2014/main" id="{26DA099A-68DD-4F43-8FC7-141CAF6D1F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45733" y="3130536"/>
            <a:ext cx="464916" cy="454373"/>
            <a:chOff x="4656" y="1821"/>
            <a:chExt cx="441" cy="431"/>
          </a:xfrm>
          <a:solidFill>
            <a:schemeClr val="accent1"/>
          </a:solidFill>
        </p:grpSpPr>
        <p:sp>
          <p:nvSpPr>
            <p:cNvPr id="235" name="Freeform 128">
              <a:extLst>
                <a:ext uri="{FF2B5EF4-FFF2-40B4-BE49-F238E27FC236}">
                  <a16:creationId xmlns:a16="http://schemas.microsoft.com/office/drawing/2014/main" id="{78927280-4152-A345-AA5D-215134AE8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" y="2037"/>
              <a:ext cx="415" cy="215"/>
            </a:xfrm>
            <a:custGeom>
              <a:avLst/>
              <a:gdLst>
                <a:gd name="T0" fmla="*/ 7 w 271"/>
                <a:gd name="T1" fmla="*/ 144 h 144"/>
                <a:gd name="T2" fmla="*/ 2 w 271"/>
                <a:gd name="T3" fmla="*/ 142 h 144"/>
                <a:gd name="T4" fmla="*/ 3 w 271"/>
                <a:gd name="T5" fmla="*/ 134 h 144"/>
                <a:gd name="T6" fmla="*/ 111 w 271"/>
                <a:gd name="T7" fmla="*/ 38 h 144"/>
                <a:gd name="T8" fmla="*/ 119 w 271"/>
                <a:gd name="T9" fmla="*/ 38 h 144"/>
                <a:gd name="T10" fmla="*/ 175 w 271"/>
                <a:gd name="T11" fmla="*/ 83 h 144"/>
                <a:gd name="T12" fmla="*/ 261 w 271"/>
                <a:gd name="T13" fmla="*/ 2 h 144"/>
                <a:gd name="T14" fmla="*/ 269 w 271"/>
                <a:gd name="T15" fmla="*/ 3 h 144"/>
                <a:gd name="T16" fmla="*/ 269 w 271"/>
                <a:gd name="T17" fmla="*/ 11 h 144"/>
                <a:gd name="T18" fmla="*/ 179 w 271"/>
                <a:gd name="T19" fmla="*/ 95 h 144"/>
                <a:gd name="T20" fmla="*/ 171 w 271"/>
                <a:gd name="T21" fmla="*/ 95 h 144"/>
                <a:gd name="T22" fmla="*/ 115 w 271"/>
                <a:gd name="T23" fmla="*/ 50 h 144"/>
                <a:gd name="T24" fmla="*/ 11 w 271"/>
                <a:gd name="T25" fmla="*/ 143 h 144"/>
                <a:gd name="T26" fmla="*/ 7 w 271"/>
                <a:gd name="T2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44">
                  <a:moveTo>
                    <a:pt x="7" y="144"/>
                  </a:moveTo>
                  <a:cubicBezTo>
                    <a:pt x="5" y="144"/>
                    <a:pt x="4" y="144"/>
                    <a:pt x="2" y="142"/>
                  </a:cubicBezTo>
                  <a:cubicBezTo>
                    <a:pt x="0" y="140"/>
                    <a:pt x="0" y="136"/>
                    <a:pt x="3" y="134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3" y="36"/>
                    <a:pt x="116" y="36"/>
                    <a:pt x="119" y="38"/>
                  </a:cubicBezTo>
                  <a:cubicBezTo>
                    <a:pt x="175" y="83"/>
                    <a:pt x="175" y="83"/>
                    <a:pt x="175" y="83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3" y="0"/>
                    <a:pt x="267" y="0"/>
                    <a:pt x="269" y="3"/>
                  </a:cubicBezTo>
                  <a:cubicBezTo>
                    <a:pt x="271" y="5"/>
                    <a:pt x="271" y="9"/>
                    <a:pt x="269" y="11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7"/>
                    <a:pt x="173" y="97"/>
                    <a:pt x="171" y="95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10" y="144"/>
                    <a:pt x="8" y="144"/>
                    <a:pt x="7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6" name="Freeform 129">
              <a:extLst>
                <a:ext uri="{FF2B5EF4-FFF2-40B4-BE49-F238E27FC236}">
                  <a16:creationId xmlns:a16="http://schemas.microsoft.com/office/drawing/2014/main" id="{7096CC96-16F5-7E42-AA31-AC96F5CD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" y="2038"/>
              <a:ext cx="90" cy="90"/>
            </a:xfrm>
            <a:custGeom>
              <a:avLst/>
              <a:gdLst>
                <a:gd name="T0" fmla="*/ 53 w 59"/>
                <a:gd name="T1" fmla="*/ 60 h 60"/>
                <a:gd name="T2" fmla="*/ 47 w 59"/>
                <a:gd name="T3" fmla="*/ 54 h 60"/>
                <a:gd name="T4" fmla="*/ 47 w 59"/>
                <a:gd name="T5" fmla="*/ 12 h 60"/>
                <a:gd name="T6" fmla="*/ 6 w 59"/>
                <a:gd name="T7" fmla="*/ 12 h 60"/>
                <a:gd name="T8" fmla="*/ 0 w 59"/>
                <a:gd name="T9" fmla="*/ 6 h 60"/>
                <a:gd name="T10" fmla="*/ 6 w 59"/>
                <a:gd name="T11" fmla="*/ 0 h 60"/>
                <a:gd name="T12" fmla="*/ 53 w 59"/>
                <a:gd name="T13" fmla="*/ 0 h 60"/>
                <a:gd name="T14" fmla="*/ 59 w 59"/>
                <a:gd name="T15" fmla="*/ 6 h 60"/>
                <a:gd name="T16" fmla="*/ 59 w 59"/>
                <a:gd name="T17" fmla="*/ 54 h 60"/>
                <a:gd name="T18" fmla="*/ 53 w 59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53" y="60"/>
                  </a:moveTo>
                  <a:cubicBezTo>
                    <a:pt x="50" y="60"/>
                    <a:pt x="47" y="57"/>
                    <a:pt x="47" y="54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7"/>
                    <a:pt x="56" y="60"/>
                    <a:pt x="5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7" name="Freeform 130">
              <a:extLst>
                <a:ext uri="{FF2B5EF4-FFF2-40B4-BE49-F238E27FC236}">
                  <a16:creationId xmlns:a16="http://schemas.microsoft.com/office/drawing/2014/main" id="{8C889260-9971-2F40-8AA7-F1A4FF7B8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" y="1821"/>
              <a:ext cx="331" cy="307"/>
            </a:xfrm>
            <a:custGeom>
              <a:avLst/>
              <a:gdLst>
                <a:gd name="T0" fmla="*/ 60 w 216"/>
                <a:gd name="T1" fmla="*/ 205 h 205"/>
                <a:gd name="T2" fmla="*/ 57 w 216"/>
                <a:gd name="T3" fmla="*/ 204 h 205"/>
                <a:gd name="T4" fmla="*/ 0 w 216"/>
                <a:gd name="T5" fmla="*/ 108 h 205"/>
                <a:gd name="T6" fmla="*/ 108 w 216"/>
                <a:gd name="T7" fmla="*/ 0 h 205"/>
                <a:gd name="T8" fmla="*/ 216 w 216"/>
                <a:gd name="T9" fmla="*/ 108 h 205"/>
                <a:gd name="T10" fmla="*/ 196 w 216"/>
                <a:gd name="T11" fmla="*/ 171 h 205"/>
                <a:gd name="T12" fmla="*/ 188 w 216"/>
                <a:gd name="T13" fmla="*/ 172 h 205"/>
                <a:gd name="T14" fmla="*/ 186 w 216"/>
                <a:gd name="T15" fmla="*/ 164 h 205"/>
                <a:gd name="T16" fmla="*/ 204 w 216"/>
                <a:gd name="T17" fmla="*/ 108 h 205"/>
                <a:gd name="T18" fmla="*/ 108 w 216"/>
                <a:gd name="T19" fmla="*/ 12 h 205"/>
                <a:gd name="T20" fmla="*/ 12 w 216"/>
                <a:gd name="T21" fmla="*/ 108 h 205"/>
                <a:gd name="T22" fmla="*/ 63 w 216"/>
                <a:gd name="T23" fmla="*/ 193 h 205"/>
                <a:gd name="T24" fmla="*/ 65 w 216"/>
                <a:gd name="T25" fmla="*/ 201 h 205"/>
                <a:gd name="T26" fmla="*/ 60 w 216"/>
                <a:gd name="T2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205">
                  <a:moveTo>
                    <a:pt x="60" y="205"/>
                  </a:moveTo>
                  <a:cubicBezTo>
                    <a:pt x="59" y="205"/>
                    <a:pt x="58" y="204"/>
                    <a:pt x="57" y="204"/>
                  </a:cubicBezTo>
                  <a:cubicBezTo>
                    <a:pt x="22" y="185"/>
                    <a:pt x="0" y="148"/>
                    <a:pt x="0" y="108"/>
                  </a:cubicBezTo>
                  <a:cubicBezTo>
                    <a:pt x="0" y="49"/>
                    <a:pt x="48" y="0"/>
                    <a:pt x="108" y="0"/>
                  </a:cubicBezTo>
                  <a:cubicBezTo>
                    <a:pt x="167" y="0"/>
                    <a:pt x="216" y="49"/>
                    <a:pt x="216" y="108"/>
                  </a:cubicBezTo>
                  <a:cubicBezTo>
                    <a:pt x="216" y="131"/>
                    <a:pt x="209" y="153"/>
                    <a:pt x="196" y="171"/>
                  </a:cubicBezTo>
                  <a:cubicBezTo>
                    <a:pt x="194" y="173"/>
                    <a:pt x="190" y="174"/>
                    <a:pt x="188" y="172"/>
                  </a:cubicBezTo>
                  <a:cubicBezTo>
                    <a:pt x="185" y="170"/>
                    <a:pt x="184" y="167"/>
                    <a:pt x="186" y="164"/>
                  </a:cubicBezTo>
                  <a:cubicBezTo>
                    <a:pt x="198" y="148"/>
                    <a:pt x="204" y="128"/>
                    <a:pt x="204" y="108"/>
                  </a:cubicBezTo>
                  <a:cubicBezTo>
                    <a:pt x="204" y="56"/>
                    <a:pt x="161" y="12"/>
                    <a:pt x="108" y="12"/>
                  </a:cubicBezTo>
                  <a:cubicBezTo>
                    <a:pt x="55" y="12"/>
                    <a:pt x="12" y="56"/>
                    <a:pt x="12" y="108"/>
                  </a:cubicBezTo>
                  <a:cubicBezTo>
                    <a:pt x="12" y="144"/>
                    <a:pt x="31" y="177"/>
                    <a:pt x="63" y="193"/>
                  </a:cubicBezTo>
                  <a:cubicBezTo>
                    <a:pt x="66" y="195"/>
                    <a:pt x="67" y="198"/>
                    <a:pt x="65" y="201"/>
                  </a:cubicBezTo>
                  <a:cubicBezTo>
                    <a:pt x="64" y="203"/>
                    <a:pt x="62" y="205"/>
                    <a:pt x="60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8" name="Freeform 131">
              <a:extLst>
                <a:ext uri="{FF2B5EF4-FFF2-40B4-BE49-F238E27FC236}">
                  <a16:creationId xmlns:a16="http://schemas.microsoft.com/office/drawing/2014/main" id="{A5D47A1B-2141-4945-9F0E-589BB8088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2035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9" name="Freeform 132">
              <a:extLst>
                <a:ext uri="{FF2B5EF4-FFF2-40B4-BE49-F238E27FC236}">
                  <a16:creationId xmlns:a16="http://schemas.microsoft.com/office/drawing/2014/main" id="{C5C6BBAC-F34B-7C43-9879-1B7567B25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1893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0" name="Freeform 133">
              <a:extLst>
                <a:ext uri="{FF2B5EF4-FFF2-40B4-BE49-F238E27FC236}">
                  <a16:creationId xmlns:a16="http://schemas.microsoft.com/office/drawing/2014/main" id="{0E22282C-227B-014F-891F-C55AF7AEC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1914"/>
              <a:ext cx="81" cy="139"/>
            </a:xfrm>
            <a:custGeom>
              <a:avLst/>
              <a:gdLst>
                <a:gd name="T0" fmla="*/ 27 w 53"/>
                <a:gd name="T1" fmla="*/ 93 h 93"/>
                <a:gd name="T2" fmla="*/ 0 w 53"/>
                <a:gd name="T3" fmla="*/ 67 h 93"/>
                <a:gd name="T4" fmla="*/ 6 w 53"/>
                <a:gd name="T5" fmla="*/ 61 h 93"/>
                <a:gd name="T6" fmla="*/ 12 w 53"/>
                <a:gd name="T7" fmla="*/ 67 h 93"/>
                <a:gd name="T8" fmla="*/ 27 w 53"/>
                <a:gd name="T9" fmla="*/ 81 h 93"/>
                <a:gd name="T10" fmla="*/ 41 w 53"/>
                <a:gd name="T11" fmla="*/ 67 h 93"/>
                <a:gd name="T12" fmla="*/ 27 w 53"/>
                <a:gd name="T13" fmla="*/ 52 h 93"/>
                <a:gd name="T14" fmla="*/ 0 w 53"/>
                <a:gd name="T15" fmla="*/ 26 h 93"/>
                <a:gd name="T16" fmla="*/ 27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7 w 53"/>
                <a:gd name="T25" fmla="*/ 12 h 93"/>
                <a:gd name="T26" fmla="*/ 12 w 53"/>
                <a:gd name="T27" fmla="*/ 26 h 93"/>
                <a:gd name="T28" fmla="*/ 27 w 53"/>
                <a:gd name="T29" fmla="*/ 40 h 93"/>
                <a:gd name="T30" fmla="*/ 53 w 53"/>
                <a:gd name="T31" fmla="*/ 67 h 93"/>
                <a:gd name="T32" fmla="*/ 27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7" y="93"/>
                  </a:moveTo>
                  <a:cubicBezTo>
                    <a:pt x="12" y="93"/>
                    <a:pt x="0" y="81"/>
                    <a:pt x="0" y="67"/>
                  </a:cubicBezTo>
                  <a:cubicBezTo>
                    <a:pt x="0" y="64"/>
                    <a:pt x="3" y="61"/>
                    <a:pt x="6" y="61"/>
                  </a:cubicBezTo>
                  <a:cubicBezTo>
                    <a:pt x="10" y="61"/>
                    <a:pt x="12" y="64"/>
                    <a:pt x="12" y="67"/>
                  </a:cubicBezTo>
                  <a:cubicBezTo>
                    <a:pt x="12" y="75"/>
                    <a:pt x="19" y="81"/>
                    <a:pt x="27" y="81"/>
                  </a:cubicBezTo>
                  <a:cubicBezTo>
                    <a:pt x="35" y="81"/>
                    <a:pt x="41" y="75"/>
                    <a:pt x="41" y="67"/>
                  </a:cubicBezTo>
                  <a:cubicBezTo>
                    <a:pt x="41" y="59"/>
                    <a:pt x="35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1" y="32"/>
                    <a:pt x="47" y="32"/>
                  </a:cubicBezTo>
                  <a:cubicBezTo>
                    <a:pt x="44" y="32"/>
                    <a:pt x="41" y="29"/>
                    <a:pt x="41" y="26"/>
                  </a:cubicBezTo>
                  <a:cubicBezTo>
                    <a:pt x="41" y="18"/>
                    <a:pt x="35" y="12"/>
                    <a:pt x="27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7" y="40"/>
                  </a:cubicBezTo>
                  <a:cubicBezTo>
                    <a:pt x="41" y="40"/>
                    <a:pt x="53" y="52"/>
                    <a:pt x="53" y="67"/>
                  </a:cubicBezTo>
                  <a:cubicBezTo>
                    <a:pt x="53" y="81"/>
                    <a:pt x="41" y="93"/>
                    <a:pt x="27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41" name="Group 21">
            <a:extLst>
              <a:ext uri="{FF2B5EF4-FFF2-40B4-BE49-F238E27FC236}">
                <a16:creationId xmlns:a16="http://schemas.microsoft.com/office/drawing/2014/main" id="{DF8633A8-0907-CE44-BEF9-83365247F2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20433" y="3170602"/>
            <a:ext cx="473118" cy="374241"/>
            <a:chOff x="526" y="695"/>
            <a:chExt cx="445" cy="352"/>
          </a:xfrm>
          <a:solidFill>
            <a:schemeClr val="accent1"/>
          </a:solidFill>
        </p:grpSpPr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0AA12124-D907-9A4D-80E8-82D0A9B10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41"/>
              <a:ext cx="382" cy="306"/>
            </a:xfrm>
            <a:custGeom>
              <a:avLst/>
              <a:gdLst>
                <a:gd name="T0" fmla="*/ 243 w 250"/>
                <a:gd name="T1" fmla="*/ 191 h 204"/>
                <a:gd name="T2" fmla="*/ 13 w 250"/>
                <a:gd name="T3" fmla="*/ 191 h 204"/>
                <a:gd name="T4" fmla="*/ 13 w 250"/>
                <a:gd name="T5" fmla="*/ 8 h 204"/>
                <a:gd name="T6" fmla="*/ 7 w 250"/>
                <a:gd name="T7" fmla="*/ 0 h 204"/>
                <a:gd name="T8" fmla="*/ 0 w 250"/>
                <a:gd name="T9" fmla="*/ 8 h 204"/>
                <a:gd name="T10" fmla="*/ 0 w 250"/>
                <a:gd name="T11" fmla="*/ 198 h 204"/>
                <a:gd name="T12" fmla="*/ 7 w 250"/>
                <a:gd name="T13" fmla="*/ 204 h 204"/>
                <a:gd name="T14" fmla="*/ 243 w 250"/>
                <a:gd name="T15" fmla="*/ 204 h 204"/>
                <a:gd name="T16" fmla="*/ 250 w 250"/>
                <a:gd name="T17" fmla="*/ 198 h 204"/>
                <a:gd name="T18" fmla="*/ 243 w 250"/>
                <a:gd name="T19" fmla="*/ 19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04">
                  <a:moveTo>
                    <a:pt x="243" y="191"/>
                  </a:moveTo>
                  <a:cubicBezTo>
                    <a:pt x="13" y="191"/>
                    <a:pt x="13" y="191"/>
                    <a:pt x="13" y="19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0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1"/>
                    <a:pt x="3" y="204"/>
                    <a:pt x="7" y="204"/>
                  </a:cubicBezTo>
                  <a:cubicBezTo>
                    <a:pt x="243" y="204"/>
                    <a:pt x="243" y="204"/>
                    <a:pt x="243" y="204"/>
                  </a:cubicBezTo>
                  <a:cubicBezTo>
                    <a:pt x="247" y="204"/>
                    <a:pt x="250" y="201"/>
                    <a:pt x="250" y="198"/>
                  </a:cubicBezTo>
                  <a:cubicBezTo>
                    <a:pt x="250" y="194"/>
                    <a:pt x="247" y="191"/>
                    <a:pt x="243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F4562066-1535-0A41-9AF3-02D89DD89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" y="695"/>
              <a:ext cx="398" cy="284"/>
            </a:xfrm>
            <a:custGeom>
              <a:avLst/>
              <a:gdLst>
                <a:gd name="T0" fmla="*/ 208 w 260"/>
                <a:gd name="T1" fmla="*/ 0 h 190"/>
                <a:gd name="T2" fmla="*/ 157 w 260"/>
                <a:gd name="T3" fmla="*/ 51 h 190"/>
                <a:gd name="T4" fmla="*/ 173 w 260"/>
                <a:gd name="T5" fmla="*/ 89 h 190"/>
                <a:gd name="T6" fmla="*/ 149 w 260"/>
                <a:gd name="T7" fmla="*/ 122 h 190"/>
                <a:gd name="T8" fmla="*/ 139 w 260"/>
                <a:gd name="T9" fmla="*/ 120 h 190"/>
                <a:gd name="T10" fmla="*/ 122 w 260"/>
                <a:gd name="T11" fmla="*/ 126 h 190"/>
                <a:gd name="T12" fmla="*/ 104 w 260"/>
                <a:gd name="T13" fmla="*/ 113 h 190"/>
                <a:gd name="T14" fmla="*/ 106 w 260"/>
                <a:gd name="T15" fmla="*/ 104 h 190"/>
                <a:gd name="T16" fmla="*/ 80 w 260"/>
                <a:gd name="T17" fmla="*/ 78 h 190"/>
                <a:gd name="T18" fmla="*/ 55 w 260"/>
                <a:gd name="T19" fmla="*/ 104 h 190"/>
                <a:gd name="T20" fmla="*/ 59 w 260"/>
                <a:gd name="T21" fmla="*/ 118 h 190"/>
                <a:gd name="T22" fmla="*/ 37 w 260"/>
                <a:gd name="T23" fmla="*/ 141 h 190"/>
                <a:gd name="T24" fmla="*/ 26 w 260"/>
                <a:gd name="T25" fmla="*/ 139 h 190"/>
                <a:gd name="T26" fmla="*/ 0 w 260"/>
                <a:gd name="T27" fmla="*/ 164 h 190"/>
                <a:gd name="T28" fmla="*/ 26 w 260"/>
                <a:gd name="T29" fmla="*/ 190 h 190"/>
                <a:gd name="T30" fmla="*/ 52 w 260"/>
                <a:gd name="T31" fmla="*/ 164 h 190"/>
                <a:gd name="T32" fmla="*/ 47 w 260"/>
                <a:gd name="T33" fmla="*/ 150 h 190"/>
                <a:gd name="T34" fmla="*/ 69 w 260"/>
                <a:gd name="T35" fmla="*/ 127 h 190"/>
                <a:gd name="T36" fmla="*/ 80 w 260"/>
                <a:gd name="T37" fmla="*/ 130 h 190"/>
                <a:gd name="T38" fmla="*/ 97 w 260"/>
                <a:gd name="T39" fmla="*/ 123 h 190"/>
                <a:gd name="T40" fmla="*/ 115 w 260"/>
                <a:gd name="T41" fmla="*/ 137 h 190"/>
                <a:gd name="T42" fmla="*/ 113 w 260"/>
                <a:gd name="T43" fmla="*/ 146 h 190"/>
                <a:gd name="T44" fmla="*/ 139 w 260"/>
                <a:gd name="T45" fmla="*/ 171 h 190"/>
                <a:gd name="T46" fmla="*/ 165 w 260"/>
                <a:gd name="T47" fmla="*/ 146 h 190"/>
                <a:gd name="T48" fmla="*/ 159 w 260"/>
                <a:gd name="T49" fmla="*/ 130 h 190"/>
                <a:gd name="T50" fmla="*/ 183 w 260"/>
                <a:gd name="T51" fmla="*/ 97 h 190"/>
                <a:gd name="T52" fmla="*/ 208 w 260"/>
                <a:gd name="T53" fmla="*/ 103 h 190"/>
                <a:gd name="T54" fmla="*/ 260 w 260"/>
                <a:gd name="T55" fmla="*/ 51 h 190"/>
                <a:gd name="T56" fmla="*/ 208 w 260"/>
                <a:gd name="T57" fmla="*/ 0 h 190"/>
                <a:gd name="T58" fmla="*/ 38 w 260"/>
                <a:gd name="T59" fmla="*/ 164 h 190"/>
                <a:gd name="T60" fmla="*/ 26 w 260"/>
                <a:gd name="T61" fmla="*/ 177 h 190"/>
                <a:gd name="T62" fmla="*/ 13 w 260"/>
                <a:gd name="T63" fmla="*/ 164 h 190"/>
                <a:gd name="T64" fmla="*/ 26 w 260"/>
                <a:gd name="T65" fmla="*/ 152 h 190"/>
                <a:gd name="T66" fmla="*/ 28 w 260"/>
                <a:gd name="T67" fmla="*/ 152 h 190"/>
                <a:gd name="T68" fmla="*/ 37 w 260"/>
                <a:gd name="T69" fmla="*/ 161 h 190"/>
                <a:gd name="T70" fmla="*/ 38 w 260"/>
                <a:gd name="T71" fmla="*/ 164 h 190"/>
                <a:gd name="T72" fmla="*/ 80 w 260"/>
                <a:gd name="T73" fmla="*/ 116 h 190"/>
                <a:gd name="T74" fmla="*/ 78 w 260"/>
                <a:gd name="T75" fmla="*/ 116 h 190"/>
                <a:gd name="T76" fmla="*/ 69 w 260"/>
                <a:gd name="T77" fmla="*/ 107 h 190"/>
                <a:gd name="T78" fmla="*/ 69 w 260"/>
                <a:gd name="T79" fmla="*/ 104 h 190"/>
                <a:gd name="T80" fmla="*/ 80 w 260"/>
                <a:gd name="T81" fmla="*/ 91 h 190"/>
                <a:gd name="T82" fmla="*/ 93 w 260"/>
                <a:gd name="T83" fmla="*/ 104 h 190"/>
                <a:gd name="T84" fmla="*/ 93 w 260"/>
                <a:gd name="T85" fmla="*/ 105 h 190"/>
                <a:gd name="T86" fmla="*/ 85 w 260"/>
                <a:gd name="T87" fmla="*/ 115 h 190"/>
                <a:gd name="T88" fmla="*/ 80 w 260"/>
                <a:gd name="T89" fmla="*/ 116 h 190"/>
                <a:gd name="T90" fmla="*/ 151 w 260"/>
                <a:gd name="T91" fmla="*/ 146 h 190"/>
                <a:gd name="T92" fmla="*/ 139 w 260"/>
                <a:gd name="T93" fmla="*/ 158 h 190"/>
                <a:gd name="T94" fmla="*/ 126 w 260"/>
                <a:gd name="T95" fmla="*/ 146 h 190"/>
                <a:gd name="T96" fmla="*/ 126 w 260"/>
                <a:gd name="T97" fmla="*/ 145 h 190"/>
                <a:gd name="T98" fmla="*/ 134 w 260"/>
                <a:gd name="T99" fmla="*/ 134 h 190"/>
                <a:gd name="T100" fmla="*/ 139 w 260"/>
                <a:gd name="T101" fmla="*/ 133 h 190"/>
                <a:gd name="T102" fmla="*/ 140 w 260"/>
                <a:gd name="T103" fmla="*/ 133 h 190"/>
                <a:gd name="T104" fmla="*/ 151 w 260"/>
                <a:gd name="T105" fmla="*/ 141 h 190"/>
                <a:gd name="T106" fmla="*/ 151 w 260"/>
                <a:gd name="T107" fmla="*/ 146 h 190"/>
                <a:gd name="T108" fmla="*/ 208 w 260"/>
                <a:gd name="T109" fmla="*/ 90 h 190"/>
                <a:gd name="T110" fmla="*/ 191 w 260"/>
                <a:gd name="T111" fmla="*/ 86 h 190"/>
                <a:gd name="T112" fmla="*/ 181 w 260"/>
                <a:gd name="T113" fmla="*/ 78 h 190"/>
                <a:gd name="T114" fmla="*/ 170 w 260"/>
                <a:gd name="T115" fmla="*/ 51 h 190"/>
                <a:gd name="T116" fmla="*/ 208 w 260"/>
                <a:gd name="T117" fmla="*/ 13 h 190"/>
                <a:gd name="T118" fmla="*/ 247 w 260"/>
                <a:gd name="T119" fmla="*/ 51 h 190"/>
                <a:gd name="T120" fmla="*/ 208 w 260"/>
                <a:gd name="T121" fmla="*/ 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190">
                  <a:moveTo>
                    <a:pt x="208" y="0"/>
                  </a:moveTo>
                  <a:cubicBezTo>
                    <a:pt x="180" y="0"/>
                    <a:pt x="157" y="23"/>
                    <a:pt x="157" y="51"/>
                  </a:cubicBezTo>
                  <a:cubicBezTo>
                    <a:pt x="157" y="66"/>
                    <a:pt x="163" y="80"/>
                    <a:pt x="173" y="89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5" y="121"/>
                    <a:pt x="142" y="120"/>
                    <a:pt x="139" y="120"/>
                  </a:cubicBezTo>
                  <a:cubicBezTo>
                    <a:pt x="133" y="120"/>
                    <a:pt x="126" y="122"/>
                    <a:pt x="122" y="126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6" y="110"/>
                    <a:pt x="106" y="107"/>
                    <a:pt x="106" y="104"/>
                  </a:cubicBezTo>
                  <a:cubicBezTo>
                    <a:pt x="106" y="90"/>
                    <a:pt x="94" y="78"/>
                    <a:pt x="80" y="78"/>
                  </a:cubicBezTo>
                  <a:cubicBezTo>
                    <a:pt x="67" y="78"/>
                    <a:pt x="55" y="90"/>
                    <a:pt x="55" y="104"/>
                  </a:cubicBezTo>
                  <a:cubicBezTo>
                    <a:pt x="55" y="109"/>
                    <a:pt x="56" y="114"/>
                    <a:pt x="59" y="118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4" y="139"/>
                    <a:pt x="30" y="139"/>
                    <a:pt x="26" y="139"/>
                  </a:cubicBezTo>
                  <a:cubicBezTo>
                    <a:pt x="12" y="139"/>
                    <a:pt x="0" y="150"/>
                    <a:pt x="0" y="164"/>
                  </a:cubicBezTo>
                  <a:cubicBezTo>
                    <a:pt x="0" y="179"/>
                    <a:pt x="12" y="190"/>
                    <a:pt x="26" y="190"/>
                  </a:cubicBezTo>
                  <a:cubicBezTo>
                    <a:pt x="40" y="190"/>
                    <a:pt x="52" y="179"/>
                    <a:pt x="52" y="164"/>
                  </a:cubicBezTo>
                  <a:cubicBezTo>
                    <a:pt x="52" y="159"/>
                    <a:pt x="50" y="155"/>
                    <a:pt x="47" y="150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72" y="129"/>
                    <a:pt x="77" y="130"/>
                    <a:pt x="80" y="130"/>
                  </a:cubicBezTo>
                  <a:cubicBezTo>
                    <a:pt x="86" y="130"/>
                    <a:pt x="93" y="127"/>
                    <a:pt x="97" y="123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4" y="139"/>
                    <a:pt x="113" y="142"/>
                    <a:pt x="113" y="146"/>
                  </a:cubicBezTo>
                  <a:cubicBezTo>
                    <a:pt x="113" y="159"/>
                    <a:pt x="125" y="171"/>
                    <a:pt x="139" y="171"/>
                  </a:cubicBezTo>
                  <a:cubicBezTo>
                    <a:pt x="153" y="171"/>
                    <a:pt x="165" y="159"/>
                    <a:pt x="165" y="146"/>
                  </a:cubicBezTo>
                  <a:cubicBezTo>
                    <a:pt x="165" y="139"/>
                    <a:pt x="162" y="134"/>
                    <a:pt x="159" y="130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91" y="101"/>
                    <a:pt x="199" y="103"/>
                    <a:pt x="208" y="103"/>
                  </a:cubicBezTo>
                  <a:cubicBezTo>
                    <a:pt x="237" y="103"/>
                    <a:pt x="260" y="80"/>
                    <a:pt x="260" y="51"/>
                  </a:cubicBezTo>
                  <a:cubicBezTo>
                    <a:pt x="260" y="23"/>
                    <a:pt x="237" y="0"/>
                    <a:pt x="208" y="0"/>
                  </a:cubicBezTo>
                  <a:close/>
                  <a:moveTo>
                    <a:pt x="38" y="164"/>
                  </a:moveTo>
                  <a:cubicBezTo>
                    <a:pt x="38" y="172"/>
                    <a:pt x="33" y="177"/>
                    <a:pt x="26" y="177"/>
                  </a:cubicBezTo>
                  <a:cubicBezTo>
                    <a:pt x="19" y="177"/>
                    <a:pt x="13" y="172"/>
                    <a:pt x="13" y="164"/>
                  </a:cubicBezTo>
                  <a:cubicBezTo>
                    <a:pt x="13" y="157"/>
                    <a:pt x="19" y="152"/>
                    <a:pt x="26" y="152"/>
                  </a:cubicBezTo>
                  <a:cubicBezTo>
                    <a:pt x="27" y="152"/>
                    <a:pt x="28" y="152"/>
                    <a:pt x="28" y="152"/>
                  </a:cubicBezTo>
                  <a:cubicBezTo>
                    <a:pt x="33" y="153"/>
                    <a:pt x="37" y="156"/>
                    <a:pt x="37" y="161"/>
                  </a:cubicBezTo>
                  <a:cubicBezTo>
                    <a:pt x="38" y="162"/>
                    <a:pt x="38" y="164"/>
                    <a:pt x="38" y="164"/>
                  </a:cubicBezTo>
                  <a:close/>
                  <a:moveTo>
                    <a:pt x="80" y="116"/>
                  </a:moveTo>
                  <a:cubicBezTo>
                    <a:pt x="80" y="116"/>
                    <a:pt x="79" y="116"/>
                    <a:pt x="78" y="116"/>
                  </a:cubicBezTo>
                  <a:cubicBezTo>
                    <a:pt x="74" y="115"/>
                    <a:pt x="69" y="112"/>
                    <a:pt x="69" y="107"/>
                  </a:cubicBezTo>
                  <a:cubicBezTo>
                    <a:pt x="69" y="106"/>
                    <a:pt x="69" y="105"/>
                    <a:pt x="69" y="104"/>
                  </a:cubicBezTo>
                  <a:cubicBezTo>
                    <a:pt x="69" y="97"/>
                    <a:pt x="74" y="91"/>
                    <a:pt x="80" y="91"/>
                  </a:cubicBezTo>
                  <a:cubicBezTo>
                    <a:pt x="87" y="91"/>
                    <a:pt x="93" y="97"/>
                    <a:pt x="93" y="104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9"/>
                    <a:pt x="90" y="114"/>
                    <a:pt x="85" y="115"/>
                  </a:cubicBezTo>
                  <a:cubicBezTo>
                    <a:pt x="84" y="116"/>
                    <a:pt x="82" y="116"/>
                    <a:pt x="80" y="116"/>
                  </a:cubicBezTo>
                  <a:close/>
                  <a:moveTo>
                    <a:pt x="151" y="146"/>
                  </a:moveTo>
                  <a:cubicBezTo>
                    <a:pt x="151" y="152"/>
                    <a:pt x="145" y="158"/>
                    <a:pt x="139" y="158"/>
                  </a:cubicBezTo>
                  <a:cubicBezTo>
                    <a:pt x="132" y="158"/>
                    <a:pt x="126" y="152"/>
                    <a:pt x="126" y="146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39"/>
                    <a:pt x="130" y="136"/>
                    <a:pt x="134" y="134"/>
                  </a:cubicBezTo>
                  <a:cubicBezTo>
                    <a:pt x="135" y="133"/>
                    <a:pt x="137" y="133"/>
                    <a:pt x="139" y="133"/>
                  </a:cubicBezTo>
                  <a:cubicBezTo>
                    <a:pt x="140" y="133"/>
                    <a:pt x="140" y="133"/>
                    <a:pt x="140" y="133"/>
                  </a:cubicBezTo>
                  <a:cubicBezTo>
                    <a:pt x="144" y="133"/>
                    <a:pt x="149" y="137"/>
                    <a:pt x="151" y="141"/>
                  </a:cubicBezTo>
                  <a:cubicBezTo>
                    <a:pt x="151" y="142"/>
                    <a:pt x="151" y="144"/>
                    <a:pt x="151" y="146"/>
                  </a:cubicBezTo>
                  <a:close/>
                  <a:moveTo>
                    <a:pt x="208" y="90"/>
                  </a:moveTo>
                  <a:cubicBezTo>
                    <a:pt x="202" y="90"/>
                    <a:pt x="197" y="89"/>
                    <a:pt x="191" y="86"/>
                  </a:cubicBezTo>
                  <a:cubicBezTo>
                    <a:pt x="188" y="84"/>
                    <a:pt x="184" y="82"/>
                    <a:pt x="181" y="78"/>
                  </a:cubicBezTo>
                  <a:cubicBezTo>
                    <a:pt x="175" y="72"/>
                    <a:pt x="170" y="62"/>
                    <a:pt x="170" y="51"/>
                  </a:cubicBezTo>
                  <a:cubicBezTo>
                    <a:pt x="170" y="30"/>
                    <a:pt x="187" y="13"/>
                    <a:pt x="208" y="13"/>
                  </a:cubicBezTo>
                  <a:cubicBezTo>
                    <a:pt x="230" y="13"/>
                    <a:pt x="247" y="30"/>
                    <a:pt x="247" y="51"/>
                  </a:cubicBezTo>
                  <a:cubicBezTo>
                    <a:pt x="247" y="73"/>
                    <a:pt x="230" y="90"/>
                    <a:pt x="20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B9353C7F-D73E-B741-B879-7A160E097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" y="800"/>
              <a:ext cx="17" cy="16"/>
            </a:xfrm>
            <a:custGeom>
              <a:avLst/>
              <a:gdLst>
                <a:gd name="T0" fmla="*/ 0 w 17"/>
                <a:gd name="T1" fmla="*/ 0 h 16"/>
                <a:gd name="T2" fmla="*/ 17 w 17"/>
                <a:gd name="T3" fmla="*/ 0 h 16"/>
                <a:gd name="T4" fmla="*/ 17 w 17"/>
                <a:gd name="T5" fmla="*/ 16 h 16"/>
                <a:gd name="T6" fmla="*/ 0 w 17"/>
                <a:gd name="T7" fmla="*/ 16 h 16"/>
                <a:gd name="T8" fmla="*/ 0 w 17"/>
                <a:gd name="T9" fmla="*/ 0 h 16"/>
                <a:gd name="T10" fmla="*/ 0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0" y="0"/>
                  </a:move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6486A7B7-4FAD-3449-8DAB-F23DCD605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725"/>
              <a:ext cx="65" cy="67"/>
            </a:xfrm>
            <a:custGeom>
              <a:avLst/>
              <a:gdLst>
                <a:gd name="T0" fmla="*/ 21 w 43"/>
                <a:gd name="T1" fmla="*/ 0 h 45"/>
                <a:gd name="T2" fmla="*/ 6 w 43"/>
                <a:gd name="T3" fmla="*/ 6 h 45"/>
                <a:gd name="T4" fmla="*/ 0 w 43"/>
                <a:gd name="T5" fmla="*/ 18 h 45"/>
                <a:gd name="T6" fmla="*/ 10 w 43"/>
                <a:gd name="T7" fmla="*/ 19 h 45"/>
                <a:gd name="T8" fmla="*/ 14 w 43"/>
                <a:gd name="T9" fmla="*/ 12 h 45"/>
                <a:gd name="T10" fmla="*/ 21 w 43"/>
                <a:gd name="T11" fmla="*/ 9 h 45"/>
                <a:gd name="T12" fmla="*/ 28 w 43"/>
                <a:gd name="T13" fmla="*/ 11 h 45"/>
                <a:gd name="T14" fmla="*/ 31 w 43"/>
                <a:gd name="T15" fmla="*/ 17 h 45"/>
                <a:gd name="T16" fmla="*/ 29 w 43"/>
                <a:gd name="T17" fmla="*/ 22 h 45"/>
                <a:gd name="T18" fmla="*/ 24 w 43"/>
                <a:gd name="T19" fmla="*/ 27 h 45"/>
                <a:gd name="T20" fmla="*/ 17 w 43"/>
                <a:gd name="T21" fmla="*/ 35 h 45"/>
                <a:gd name="T22" fmla="*/ 15 w 43"/>
                <a:gd name="T23" fmla="*/ 43 h 45"/>
                <a:gd name="T24" fmla="*/ 16 w 43"/>
                <a:gd name="T25" fmla="*/ 45 h 45"/>
                <a:gd name="T26" fmla="*/ 26 w 43"/>
                <a:gd name="T27" fmla="*/ 45 h 45"/>
                <a:gd name="T28" fmla="*/ 27 w 43"/>
                <a:gd name="T29" fmla="*/ 39 h 45"/>
                <a:gd name="T30" fmla="*/ 31 w 43"/>
                <a:gd name="T31" fmla="*/ 34 h 45"/>
                <a:gd name="T32" fmla="*/ 40 w 43"/>
                <a:gd name="T33" fmla="*/ 25 h 45"/>
                <a:gd name="T34" fmla="*/ 43 w 43"/>
                <a:gd name="T35" fmla="*/ 17 h 45"/>
                <a:gd name="T36" fmla="*/ 36 w 43"/>
                <a:gd name="T37" fmla="*/ 6 h 45"/>
                <a:gd name="T38" fmla="*/ 21 w 43"/>
                <a:gd name="T3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45">
                  <a:moveTo>
                    <a:pt x="21" y="0"/>
                  </a:moveTo>
                  <a:cubicBezTo>
                    <a:pt x="15" y="0"/>
                    <a:pt x="10" y="2"/>
                    <a:pt x="6" y="6"/>
                  </a:cubicBezTo>
                  <a:cubicBezTo>
                    <a:pt x="2" y="9"/>
                    <a:pt x="0" y="13"/>
                    <a:pt x="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1" y="16"/>
                    <a:pt x="12" y="13"/>
                    <a:pt x="14" y="12"/>
                  </a:cubicBezTo>
                  <a:cubicBezTo>
                    <a:pt x="16" y="10"/>
                    <a:pt x="19" y="9"/>
                    <a:pt x="21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30" y="13"/>
                    <a:pt x="31" y="15"/>
                    <a:pt x="31" y="17"/>
                  </a:cubicBezTo>
                  <a:cubicBezTo>
                    <a:pt x="31" y="19"/>
                    <a:pt x="31" y="20"/>
                    <a:pt x="29" y="22"/>
                  </a:cubicBezTo>
                  <a:cubicBezTo>
                    <a:pt x="29" y="23"/>
                    <a:pt x="27" y="25"/>
                    <a:pt x="24" y="27"/>
                  </a:cubicBezTo>
                  <a:cubicBezTo>
                    <a:pt x="20" y="30"/>
                    <a:pt x="19" y="32"/>
                    <a:pt x="17" y="35"/>
                  </a:cubicBezTo>
                  <a:cubicBezTo>
                    <a:pt x="16" y="36"/>
                    <a:pt x="15" y="39"/>
                    <a:pt x="15" y="43"/>
                  </a:cubicBezTo>
                  <a:cubicBezTo>
                    <a:pt x="15" y="43"/>
                    <a:pt x="15" y="44"/>
                    <a:pt x="1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3"/>
                    <a:pt x="26" y="40"/>
                    <a:pt x="27" y="39"/>
                  </a:cubicBezTo>
                  <a:cubicBezTo>
                    <a:pt x="27" y="38"/>
                    <a:pt x="28" y="36"/>
                    <a:pt x="31" y="34"/>
                  </a:cubicBezTo>
                  <a:cubicBezTo>
                    <a:pt x="36" y="30"/>
                    <a:pt x="39" y="27"/>
                    <a:pt x="40" y="25"/>
                  </a:cubicBezTo>
                  <a:cubicBezTo>
                    <a:pt x="42" y="23"/>
                    <a:pt x="43" y="20"/>
                    <a:pt x="43" y="17"/>
                  </a:cubicBezTo>
                  <a:cubicBezTo>
                    <a:pt x="43" y="13"/>
                    <a:pt x="40" y="9"/>
                    <a:pt x="36" y="6"/>
                  </a:cubicBezTo>
                  <a:cubicBezTo>
                    <a:pt x="33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6" name="Group 71">
            <a:extLst>
              <a:ext uri="{FF2B5EF4-FFF2-40B4-BE49-F238E27FC236}">
                <a16:creationId xmlns:a16="http://schemas.microsoft.com/office/drawing/2014/main" id="{812AA5DC-A4DD-534D-91AC-87DD09713D0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67337" y="3111955"/>
            <a:ext cx="516168" cy="491534"/>
            <a:chOff x="6721" y="1874"/>
            <a:chExt cx="440" cy="419"/>
          </a:xfrm>
          <a:solidFill>
            <a:schemeClr val="accent1"/>
          </a:solidFill>
        </p:grpSpPr>
        <p:sp>
          <p:nvSpPr>
            <p:cNvPr id="247" name="Freeform 72">
              <a:extLst>
                <a:ext uri="{FF2B5EF4-FFF2-40B4-BE49-F238E27FC236}">
                  <a16:creationId xmlns:a16="http://schemas.microsoft.com/office/drawing/2014/main" id="{1D7E026E-1643-2347-9166-545F7A08B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3" y="1952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8" name="Freeform 73">
              <a:extLst>
                <a:ext uri="{FF2B5EF4-FFF2-40B4-BE49-F238E27FC236}">
                  <a16:creationId xmlns:a16="http://schemas.microsoft.com/office/drawing/2014/main" id="{5351C73B-0BA7-0241-A5BE-40597F228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9" y="1898"/>
              <a:ext cx="182" cy="180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2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15 w 119"/>
                <a:gd name="T31" fmla="*/ 48 h 120"/>
                <a:gd name="T32" fmla="*/ 107 w 119"/>
                <a:gd name="T33" fmla="*/ 60 h 120"/>
                <a:gd name="T34" fmla="*/ 115 w 119"/>
                <a:gd name="T35" fmla="*/ 71 h 120"/>
                <a:gd name="T36" fmla="*/ 106 w 119"/>
                <a:gd name="T37" fmla="*/ 100 h 120"/>
                <a:gd name="T38" fmla="*/ 97 w 119"/>
                <a:gd name="T39" fmla="*/ 102 h 120"/>
                <a:gd name="T40" fmla="*/ 78 w 119"/>
                <a:gd name="T41" fmla="*/ 104 h 120"/>
                <a:gd name="T42" fmla="*/ 72 w 119"/>
                <a:gd name="T43" fmla="*/ 120 h 120"/>
                <a:gd name="T44" fmla="*/ 66 w 119"/>
                <a:gd name="T45" fmla="*/ 108 h 120"/>
                <a:gd name="T46" fmla="*/ 71 w 119"/>
                <a:gd name="T47" fmla="*/ 94 h 120"/>
                <a:gd name="T48" fmla="*/ 92 w 119"/>
                <a:gd name="T49" fmla="*/ 85 h 120"/>
                <a:gd name="T50" fmla="*/ 104 w 119"/>
                <a:gd name="T51" fmla="*/ 78 h 120"/>
                <a:gd name="T52" fmla="*/ 95 w 119"/>
                <a:gd name="T53" fmla="*/ 68 h 120"/>
                <a:gd name="T54" fmla="*/ 94 w 119"/>
                <a:gd name="T55" fmla="*/ 51 h 120"/>
                <a:gd name="T56" fmla="*/ 104 w 119"/>
                <a:gd name="T57" fmla="*/ 41 h 120"/>
                <a:gd name="T58" fmla="*/ 92 w 119"/>
                <a:gd name="T59" fmla="*/ 34 h 120"/>
                <a:gd name="T60" fmla="*/ 70 w 119"/>
                <a:gd name="T61" fmla="*/ 25 h 120"/>
                <a:gd name="T62" fmla="*/ 66 w 119"/>
                <a:gd name="T63" fmla="*/ 12 h 120"/>
                <a:gd name="T64" fmla="*/ 54 w 119"/>
                <a:gd name="T65" fmla="*/ 19 h 120"/>
                <a:gd name="T66" fmla="*/ 35 w 119"/>
                <a:gd name="T67" fmla="*/ 33 h 120"/>
                <a:gd name="T68" fmla="*/ 21 w 119"/>
                <a:gd name="T69" fmla="*/ 30 h 120"/>
                <a:gd name="T70" fmla="*/ 22 w 119"/>
                <a:gd name="T71" fmla="*/ 45 h 120"/>
                <a:gd name="T72" fmla="*/ 23 w 119"/>
                <a:gd name="T73" fmla="*/ 60 h 120"/>
                <a:gd name="T74" fmla="*/ 22 w 119"/>
                <a:gd name="T75" fmla="*/ 74 h 120"/>
                <a:gd name="T76" fmla="*/ 21 w 119"/>
                <a:gd name="T77" fmla="*/ 89 h 120"/>
                <a:gd name="T78" fmla="*/ 35 w 119"/>
                <a:gd name="T79" fmla="*/ 86 h 120"/>
                <a:gd name="T80" fmla="*/ 54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4"/>
                  </a:cubicBezTo>
                  <a:cubicBezTo>
                    <a:pt x="1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9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1"/>
                    <a:pt x="118" y="43"/>
                    <a:pt x="118" y="44"/>
                  </a:cubicBezTo>
                  <a:cubicBezTo>
                    <a:pt x="118" y="46"/>
                    <a:pt x="117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8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4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1" y="94"/>
                  </a:cubicBezTo>
                  <a:cubicBezTo>
                    <a:pt x="76" y="92"/>
                    <a:pt x="81" y="90"/>
                    <a:pt x="85" y="86"/>
                  </a:cubicBezTo>
                  <a:cubicBezTo>
                    <a:pt x="87" y="84"/>
                    <a:pt x="89" y="83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5" y="73"/>
                    <a:pt x="94" y="70"/>
                    <a:pt x="95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7" y="35"/>
                    <a:pt x="85" y="33"/>
                  </a:cubicBezTo>
                  <a:cubicBezTo>
                    <a:pt x="81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3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0"/>
                    <a:pt x="24" y="73"/>
                    <a:pt x="22" y="7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9" name="Freeform 74">
              <a:extLst>
                <a:ext uri="{FF2B5EF4-FFF2-40B4-BE49-F238E27FC236}">
                  <a16:creationId xmlns:a16="http://schemas.microsoft.com/office/drawing/2014/main" id="{D0E469F3-B678-D945-AFB3-6BFFD229C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6" y="2095"/>
              <a:ext cx="330" cy="198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2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0" name="Freeform 75">
              <a:extLst>
                <a:ext uri="{FF2B5EF4-FFF2-40B4-BE49-F238E27FC236}">
                  <a16:creationId xmlns:a16="http://schemas.microsoft.com/office/drawing/2014/main" id="{B77FEEF7-7A7C-6643-BD56-5BEB58280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" y="2049"/>
              <a:ext cx="330" cy="64"/>
            </a:xfrm>
            <a:custGeom>
              <a:avLst/>
              <a:gdLst>
                <a:gd name="T0" fmla="*/ 210 w 216"/>
                <a:gd name="T1" fmla="*/ 43 h 43"/>
                <a:gd name="T2" fmla="*/ 6 w 216"/>
                <a:gd name="T3" fmla="*/ 43 h 43"/>
                <a:gd name="T4" fmla="*/ 1 w 216"/>
                <a:gd name="T5" fmla="*/ 40 h 43"/>
                <a:gd name="T6" fmla="*/ 1 w 216"/>
                <a:gd name="T7" fmla="*/ 35 h 43"/>
                <a:gd name="T8" fmla="*/ 11 w 216"/>
                <a:gd name="T9" fmla="*/ 5 h 43"/>
                <a:gd name="T10" fmla="*/ 18 w 216"/>
                <a:gd name="T11" fmla="*/ 1 h 43"/>
                <a:gd name="T12" fmla="*/ 22 w 216"/>
                <a:gd name="T13" fmla="*/ 8 h 43"/>
                <a:gd name="T14" fmla="*/ 15 w 216"/>
                <a:gd name="T15" fmla="*/ 31 h 43"/>
                <a:gd name="T16" fmla="*/ 210 w 216"/>
                <a:gd name="T17" fmla="*/ 31 h 43"/>
                <a:gd name="T18" fmla="*/ 216 w 216"/>
                <a:gd name="T19" fmla="*/ 37 h 43"/>
                <a:gd name="T20" fmla="*/ 210 w 216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6" h="43">
                  <a:moveTo>
                    <a:pt x="21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4" y="43"/>
                    <a:pt x="3" y="42"/>
                    <a:pt x="1" y="40"/>
                  </a:cubicBezTo>
                  <a:cubicBezTo>
                    <a:pt x="0" y="38"/>
                    <a:pt x="0" y="36"/>
                    <a:pt x="1" y="3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2"/>
                    <a:pt x="15" y="0"/>
                    <a:pt x="18" y="1"/>
                  </a:cubicBezTo>
                  <a:cubicBezTo>
                    <a:pt x="21" y="2"/>
                    <a:pt x="23" y="5"/>
                    <a:pt x="22" y="8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10" y="31"/>
                    <a:pt x="210" y="31"/>
                    <a:pt x="210" y="31"/>
                  </a:cubicBezTo>
                  <a:cubicBezTo>
                    <a:pt x="214" y="31"/>
                    <a:pt x="216" y="33"/>
                    <a:pt x="216" y="37"/>
                  </a:cubicBezTo>
                  <a:cubicBezTo>
                    <a:pt x="216" y="40"/>
                    <a:pt x="214" y="43"/>
                    <a:pt x="21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1" name="Freeform 76">
              <a:extLst>
                <a:ext uri="{FF2B5EF4-FFF2-40B4-BE49-F238E27FC236}">
                  <a16:creationId xmlns:a16="http://schemas.microsoft.com/office/drawing/2014/main" id="{3B035025-AC90-7E49-BF74-FB46A87D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" y="1988"/>
              <a:ext cx="72" cy="18"/>
            </a:xfrm>
            <a:custGeom>
              <a:avLst/>
              <a:gdLst>
                <a:gd name="T0" fmla="*/ 41 w 47"/>
                <a:gd name="T1" fmla="*/ 12 h 12"/>
                <a:gd name="T2" fmla="*/ 6 w 47"/>
                <a:gd name="T3" fmla="*/ 12 h 12"/>
                <a:gd name="T4" fmla="*/ 0 w 47"/>
                <a:gd name="T5" fmla="*/ 6 h 12"/>
                <a:gd name="T6" fmla="*/ 6 w 47"/>
                <a:gd name="T7" fmla="*/ 0 h 12"/>
                <a:gd name="T8" fmla="*/ 41 w 47"/>
                <a:gd name="T9" fmla="*/ 0 h 12"/>
                <a:gd name="T10" fmla="*/ 47 w 47"/>
                <a:gd name="T11" fmla="*/ 6 h 12"/>
                <a:gd name="T12" fmla="*/ 41 w 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">
                  <a:moveTo>
                    <a:pt x="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2"/>
                    <a:pt x="47" y="6"/>
                  </a:cubicBezTo>
                  <a:cubicBezTo>
                    <a:pt x="47" y="9"/>
                    <a:pt x="45" y="12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2" name="Freeform 77">
              <a:extLst>
                <a:ext uri="{FF2B5EF4-FFF2-40B4-BE49-F238E27FC236}">
                  <a16:creationId xmlns:a16="http://schemas.microsoft.com/office/drawing/2014/main" id="{4B9EEDFD-B5F6-5942-AA55-8425057F8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" y="1995"/>
              <a:ext cx="78" cy="77"/>
            </a:xfrm>
            <a:custGeom>
              <a:avLst/>
              <a:gdLst>
                <a:gd name="T0" fmla="*/ 44 w 51"/>
                <a:gd name="T1" fmla="*/ 51 h 51"/>
                <a:gd name="T2" fmla="*/ 40 w 51"/>
                <a:gd name="T3" fmla="*/ 49 h 51"/>
                <a:gd name="T4" fmla="*/ 2 w 51"/>
                <a:gd name="T5" fmla="*/ 11 h 51"/>
                <a:gd name="T6" fmla="*/ 2 w 51"/>
                <a:gd name="T7" fmla="*/ 2 h 51"/>
                <a:gd name="T8" fmla="*/ 11 w 51"/>
                <a:gd name="T9" fmla="*/ 2 h 51"/>
                <a:gd name="T10" fmla="*/ 48 w 51"/>
                <a:gd name="T11" fmla="*/ 40 h 51"/>
                <a:gd name="T12" fmla="*/ 48 w 51"/>
                <a:gd name="T13" fmla="*/ 49 h 51"/>
                <a:gd name="T14" fmla="*/ 44 w 5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cubicBezTo>
                    <a:pt x="43" y="51"/>
                    <a:pt x="41" y="50"/>
                    <a:pt x="40" y="4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3"/>
                    <a:pt x="51" y="47"/>
                    <a:pt x="48" y="49"/>
                  </a:cubicBezTo>
                  <a:cubicBezTo>
                    <a:pt x="47" y="50"/>
                    <a:pt x="46" y="51"/>
                    <a:pt x="4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3" name="Freeform 78">
              <a:extLst>
                <a:ext uri="{FF2B5EF4-FFF2-40B4-BE49-F238E27FC236}">
                  <a16:creationId xmlns:a16="http://schemas.microsoft.com/office/drawing/2014/main" id="{8B50B4AE-2180-ED47-B4DC-A8F6FCB2F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" y="1874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8" y="96"/>
                    <a:pt x="96" y="77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4" name="Freeform 79">
              <a:extLst>
                <a:ext uri="{FF2B5EF4-FFF2-40B4-BE49-F238E27FC236}">
                  <a16:creationId xmlns:a16="http://schemas.microsoft.com/office/drawing/2014/main" id="{3D3213DB-D615-0D43-8639-180B31371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1" y="2203"/>
              <a:ext cx="128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6 h 36"/>
                <a:gd name="T8" fmla="*/ 6 w 84"/>
                <a:gd name="T9" fmla="*/ 0 h 36"/>
                <a:gd name="T10" fmla="*/ 78 w 84"/>
                <a:gd name="T11" fmla="*/ 0 h 36"/>
                <a:gd name="T12" fmla="*/ 84 w 84"/>
                <a:gd name="T13" fmla="*/ 6 h 36"/>
                <a:gd name="T14" fmla="*/ 84 w 84"/>
                <a:gd name="T15" fmla="*/ 30 h 36"/>
                <a:gd name="T16" fmla="*/ 78 w 84"/>
                <a:gd name="T17" fmla="*/ 36 h 36"/>
                <a:gd name="T18" fmla="*/ 12 w 84"/>
                <a:gd name="T19" fmla="*/ 24 h 36"/>
                <a:gd name="T20" fmla="*/ 72 w 84"/>
                <a:gd name="T21" fmla="*/ 24 h 36"/>
                <a:gd name="T22" fmla="*/ 72 w 84"/>
                <a:gd name="T23" fmla="*/ 12 h 36"/>
                <a:gd name="T24" fmla="*/ 12 w 84"/>
                <a:gd name="T25" fmla="*/ 12 h 36"/>
                <a:gd name="T26" fmla="*/ 12 w 84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2" y="36"/>
                    <a:pt x="78" y="36"/>
                  </a:cubicBezTo>
                  <a:close/>
                  <a:moveTo>
                    <a:pt x="12" y="24"/>
                  </a:moveTo>
                  <a:cubicBezTo>
                    <a:pt x="72" y="24"/>
                    <a:pt x="72" y="24"/>
                    <a:pt x="72" y="2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55" name="Group 83">
            <a:extLst>
              <a:ext uri="{FF2B5EF4-FFF2-40B4-BE49-F238E27FC236}">
                <a16:creationId xmlns:a16="http://schemas.microsoft.com/office/drawing/2014/main" id="{55833B4A-F17D-B241-A9BA-CAA65D15AF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62737" y="4307059"/>
            <a:ext cx="513716" cy="502040"/>
            <a:chOff x="2584" y="1926"/>
            <a:chExt cx="440" cy="430"/>
          </a:xfrm>
          <a:solidFill>
            <a:schemeClr val="accent1"/>
          </a:solidFill>
        </p:grpSpPr>
        <p:sp>
          <p:nvSpPr>
            <p:cNvPr id="256" name="Freeform 84">
              <a:extLst>
                <a:ext uri="{FF2B5EF4-FFF2-40B4-BE49-F238E27FC236}">
                  <a16:creationId xmlns:a16="http://schemas.microsoft.com/office/drawing/2014/main" id="{62D09E4A-E7E8-5A4A-85DE-1B4599C0D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" y="2033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7" name="Freeform 85">
              <a:extLst>
                <a:ext uri="{FF2B5EF4-FFF2-40B4-BE49-F238E27FC236}">
                  <a16:creationId xmlns:a16="http://schemas.microsoft.com/office/drawing/2014/main" id="{B59559F8-B7D8-E64A-9FF8-99BE86B67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1989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8" name="Freeform 86">
              <a:extLst>
                <a:ext uri="{FF2B5EF4-FFF2-40B4-BE49-F238E27FC236}">
                  <a16:creationId xmlns:a16="http://schemas.microsoft.com/office/drawing/2014/main" id="{CB47EC8D-F2B8-9F4C-B06A-5E3E2F46D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1926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9" name="Freeform 87">
              <a:extLst>
                <a:ext uri="{FF2B5EF4-FFF2-40B4-BE49-F238E27FC236}">
                  <a16:creationId xmlns:a16="http://schemas.microsoft.com/office/drawing/2014/main" id="{DFF5E73F-F4A1-184B-8EF1-E99450FD4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0" name="Freeform 88">
              <a:extLst>
                <a:ext uri="{FF2B5EF4-FFF2-40B4-BE49-F238E27FC236}">
                  <a16:creationId xmlns:a16="http://schemas.microsoft.com/office/drawing/2014/main" id="{4315EC7A-FDF7-B047-92A8-C59FD41F2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5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1" name="Freeform 89">
              <a:extLst>
                <a:ext uri="{FF2B5EF4-FFF2-40B4-BE49-F238E27FC236}">
                  <a16:creationId xmlns:a16="http://schemas.microsoft.com/office/drawing/2014/main" id="{5CFD3D7D-9ADA-AA40-8FB5-1D7E3F96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4" y="2159"/>
              <a:ext cx="152" cy="149"/>
            </a:xfrm>
            <a:custGeom>
              <a:avLst/>
              <a:gdLst>
                <a:gd name="T0" fmla="*/ 12 w 152"/>
                <a:gd name="T1" fmla="*/ 149 h 149"/>
                <a:gd name="T2" fmla="*/ 0 w 152"/>
                <a:gd name="T3" fmla="*/ 136 h 149"/>
                <a:gd name="T4" fmla="*/ 139 w 152"/>
                <a:gd name="T5" fmla="*/ 0 h 149"/>
                <a:gd name="T6" fmla="*/ 152 w 152"/>
                <a:gd name="T7" fmla="*/ 13 h 149"/>
                <a:gd name="T8" fmla="*/ 12 w 152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49">
                  <a:moveTo>
                    <a:pt x="12" y="149"/>
                  </a:moveTo>
                  <a:lnTo>
                    <a:pt x="0" y="136"/>
                  </a:lnTo>
                  <a:lnTo>
                    <a:pt x="139" y="0"/>
                  </a:lnTo>
                  <a:lnTo>
                    <a:pt x="152" y="13"/>
                  </a:lnTo>
                  <a:lnTo>
                    <a:pt x="12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2" name="Freeform 90">
              <a:extLst>
                <a:ext uri="{FF2B5EF4-FFF2-40B4-BE49-F238E27FC236}">
                  <a16:creationId xmlns:a16="http://schemas.microsoft.com/office/drawing/2014/main" id="{BC3144C7-6411-9D4D-B367-CCFF229DB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1975"/>
              <a:ext cx="98" cy="96"/>
            </a:xfrm>
            <a:custGeom>
              <a:avLst/>
              <a:gdLst>
                <a:gd name="T0" fmla="*/ 13 w 98"/>
                <a:gd name="T1" fmla="*/ 96 h 96"/>
                <a:gd name="T2" fmla="*/ 0 w 98"/>
                <a:gd name="T3" fmla="*/ 82 h 96"/>
                <a:gd name="T4" fmla="*/ 84 w 98"/>
                <a:gd name="T5" fmla="*/ 0 h 96"/>
                <a:gd name="T6" fmla="*/ 98 w 98"/>
                <a:gd name="T7" fmla="*/ 12 h 96"/>
                <a:gd name="T8" fmla="*/ 13 w 98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6">
                  <a:moveTo>
                    <a:pt x="13" y="96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98" y="12"/>
                  </a:lnTo>
                  <a:lnTo>
                    <a:pt x="13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3" name="Freeform 91">
              <a:extLst>
                <a:ext uri="{FF2B5EF4-FFF2-40B4-BE49-F238E27FC236}">
                  <a16:creationId xmlns:a16="http://schemas.microsoft.com/office/drawing/2014/main" id="{6E2C42D8-3319-674B-8133-E01915A2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029"/>
              <a:ext cx="125" cy="66"/>
            </a:xfrm>
            <a:custGeom>
              <a:avLst/>
              <a:gdLst>
                <a:gd name="T0" fmla="*/ 119 w 125"/>
                <a:gd name="T1" fmla="*/ 66 h 66"/>
                <a:gd name="T2" fmla="*/ 0 w 125"/>
                <a:gd name="T3" fmla="*/ 16 h 66"/>
                <a:gd name="T4" fmla="*/ 7 w 125"/>
                <a:gd name="T5" fmla="*/ 0 h 66"/>
                <a:gd name="T6" fmla="*/ 125 w 125"/>
                <a:gd name="T7" fmla="*/ 49 h 66"/>
                <a:gd name="T8" fmla="*/ 119 w 125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66">
                  <a:moveTo>
                    <a:pt x="119" y="66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125" y="49"/>
                  </a:lnTo>
                  <a:lnTo>
                    <a:pt x="11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4" name="Freeform 92">
              <a:extLst>
                <a:ext uri="{FF2B5EF4-FFF2-40B4-BE49-F238E27FC236}">
                  <a16:creationId xmlns:a16="http://schemas.microsoft.com/office/drawing/2014/main" id="{8081C512-E672-CD44-BBE3-358BA6E0D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" y="2142"/>
              <a:ext cx="74" cy="44"/>
            </a:xfrm>
            <a:custGeom>
              <a:avLst/>
              <a:gdLst>
                <a:gd name="T0" fmla="*/ 66 w 74"/>
                <a:gd name="T1" fmla="*/ 44 h 44"/>
                <a:gd name="T2" fmla="*/ 0 w 74"/>
                <a:gd name="T3" fmla="*/ 17 h 44"/>
                <a:gd name="T4" fmla="*/ 8 w 74"/>
                <a:gd name="T5" fmla="*/ 0 h 44"/>
                <a:gd name="T6" fmla="*/ 74 w 74"/>
                <a:gd name="T7" fmla="*/ 27 h 44"/>
                <a:gd name="T8" fmla="*/ 66 w 7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4">
                  <a:moveTo>
                    <a:pt x="66" y="44"/>
                  </a:moveTo>
                  <a:lnTo>
                    <a:pt x="0" y="17"/>
                  </a:lnTo>
                  <a:lnTo>
                    <a:pt x="8" y="0"/>
                  </a:lnTo>
                  <a:lnTo>
                    <a:pt x="74" y="27"/>
                  </a:lnTo>
                  <a:lnTo>
                    <a:pt x="6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5" name="Rectangle 93">
              <a:extLst>
                <a:ext uri="{FF2B5EF4-FFF2-40B4-BE49-F238E27FC236}">
                  <a16:creationId xmlns:a16="http://schemas.microsoft.com/office/drawing/2014/main" id="{55AC4F32-9438-A14E-8D3B-30633B195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186"/>
              <a:ext cx="1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6" name="Freeform 94">
              <a:extLst>
                <a:ext uri="{FF2B5EF4-FFF2-40B4-BE49-F238E27FC236}">
                  <a16:creationId xmlns:a16="http://schemas.microsoft.com/office/drawing/2014/main" id="{B353D0A6-EF38-0447-A7B3-679682F678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2150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67" name="Group 59">
            <a:extLst>
              <a:ext uri="{FF2B5EF4-FFF2-40B4-BE49-F238E27FC236}">
                <a16:creationId xmlns:a16="http://schemas.microsoft.com/office/drawing/2014/main" id="{EF54C6A6-4BD1-DD43-B133-D4D226C9EE9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1257" y="4307059"/>
            <a:ext cx="493868" cy="502040"/>
            <a:chOff x="5696" y="644"/>
            <a:chExt cx="423" cy="430"/>
          </a:xfrm>
          <a:solidFill>
            <a:schemeClr val="accent1"/>
          </a:solidFill>
        </p:grpSpPr>
        <p:sp>
          <p:nvSpPr>
            <p:cNvPr id="268" name="Freeform 60">
              <a:extLst>
                <a:ext uri="{FF2B5EF4-FFF2-40B4-BE49-F238E27FC236}">
                  <a16:creationId xmlns:a16="http://schemas.microsoft.com/office/drawing/2014/main" id="{2DF46A1E-62FB-7842-A1DF-1D64EE7FC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644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1">
              <a:extLst>
                <a:ext uri="{FF2B5EF4-FFF2-40B4-BE49-F238E27FC236}">
                  <a16:creationId xmlns:a16="http://schemas.microsoft.com/office/drawing/2014/main" id="{BCA1753F-E6EB-1940-8BE6-7A70C8DF2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2">
              <a:extLst>
                <a:ext uri="{FF2B5EF4-FFF2-40B4-BE49-F238E27FC236}">
                  <a16:creationId xmlns:a16="http://schemas.microsoft.com/office/drawing/2014/main" id="{FF51CD50-D176-8646-A186-FB4270CF1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3">
              <a:extLst>
                <a:ext uri="{FF2B5EF4-FFF2-40B4-BE49-F238E27FC236}">
                  <a16:creationId xmlns:a16="http://schemas.microsoft.com/office/drawing/2014/main" id="{1DC2FFD3-7641-234A-B73A-9039B77A4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6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64">
              <a:extLst>
                <a:ext uri="{FF2B5EF4-FFF2-40B4-BE49-F238E27FC236}">
                  <a16:creationId xmlns:a16="http://schemas.microsoft.com/office/drawing/2014/main" id="{3900C2DB-FA6B-D741-97DE-59BAC7FF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8" y="743"/>
              <a:ext cx="19" cy="2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5">
              <a:extLst>
                <a:ext uri="{FF2B5EF4-FFF2-40B4-BE49-F238E27FC236}">
                  <a16:creationId xmlns:a16="http://schemas.microsoft.com/office/drawing/2014/main" id="{3C85F200-5885-C74D-8D1C-4D9CD9852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859"/>
              <a:ext cx="331" cy="116"/>
            </a:xfrm>
            <a:custGeom>
              <a:avLst/>
              <a:gdLst>
                <a:gd name="T0" fmla="*/ 216 w 216"/>
                <a:gd name="T1" fmla="*/ 78 h 78"/>
                <a:gd name="T2" fmla="*/ 204 w 216"/>
                <a:gd name="T3" fmla="*/ 78 h 78"/>
                <a:gd name="T4" fmla="*/ 138 w 216"/>
                <a:gd name="T5" fmla="*/ 12 h 78"/>
                <a:gd name="T6" fmla="*/ 72 w 216"/>
                <a:gd name="T7" fmla="*/ 12 h 78"/>
                <a:gd name="T8" fmla="*/ 12 w 216"/>
                <a:gd name="T9" fmla="*/ 78 h 78"/>
                <a:gd name="T10" fmla="*/ 0 w 216"/>
                <a:gd name="T11" fmla="*/ 78 h 78"/>
                <a:gd name="T12" fmla="*/ 72 w 216"/>
                <a:gd name="T13" fmla="*/ 0 h 78"/>
                <a:gd name="T14" fmla="*/ 138 w 216"/>
                <a:gd name="T15" fmla="*/ 0 h 78"/>
                <a:gd name="T16" fmla="*/ 216 w 216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78">
                  <a:moveTo>
                    <a:pt x="216" y="78"/>
                  </a:moveTo>
                  <a:cubicBezTo>
                    <a:pt x="204" y="78"/>
                    <a:pt x="204" y="78"/>
                    <a:pt x="204" y="78"/>
                  </a:cubicBezTo>
                  <a:cubicBezTo>
                    <a:pt x="204" y="42"/>
                    <a:pt x="175" y="12"/>
                    <a:pt x="138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37" y="12"/>
                    <a:pt x="12" y="40"/>
                    <a:pt x="12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3"/>
                    <a:pt x="31" y="0"/>
                    <a:pt x="72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81" y="0"/>
                    <a:pt x="216" y="35"/>
                    <a:pt x="21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40">
            <a:extLst>
              <a:ext uri="{FF2B5EF4-FFF2-40B4-BE49-F238E27FC236}">
                <a16:creationId xmlns:a16="http://schemas.microsoft.com/office/drawing/2014/main" id="{AF2CB69D-CBB7-0741-B4F3-6F052ABCDA2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13589" y="4350552"/>
            <a:ext cx="486806" cy="415054"/>
            <a:chOff x="4653" y="690"/>
            <a:chExt cx="441" cy="376"/>
          </a:xfrm>
          <a:solidFill>
            <a:schemeClr val="accent1"/>
          </a:solidFill>
        </p:grpSpPr>
        <p:sp>
          <p:nvSpPr>
            <p:cNvPr id="275" name="Freeform 41">
              <a:extLst>
                <a:ext uri="{FF2B5EF4-FFF2-40B4-BE49-F238E27FC236}">
                  <a16:creationId xmlns:a16="http://schemas.microsoft.com/office/drawing/2014/main" id="{FDCBE251-79E8-114A-B376-CEEF3221D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6" name="Freeform 42">
              <a:extLst>
                <a:ext uri="{FF2B5EF4-FFF2-40B4-BE49-F238E27FC236}">
                  <a16:creationId xmlns:a16="http://schemas.microsoft.com/office/drawing/2014/main" id="{33EAB03F-1708-934A-9326-DCEC1E3BE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7" name="Freeform 43">
              <a:extLst>
                <a:ext uri="{FF2B5EF4-FFF2-40B4-BE49-F238E27FC236}">
                  <a16:creationId xmlns:a16="http://schemas.microsoft.com/office/drawing/2014/main" id="{0B22C036-1BF3-914B-849D-BDC1213AB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8" name="Freeform 44">
              <a:extLst>
                <a:ext uri="{FF2B5EF4-FFF2-40B4-BE49-F238E27FC236}">
                  <a16:creationId xmlns:a16="http://schemas.microsoft.com/office/drawing/2014/main" id="{E8B7DC9C-B6E3-214C-96AB-8281516F4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9" name="Freeform 45">
              <a:extLst>
                <a:ext uri="{FF2B5EF4-FFF2-40B4-BE49-F238E27FC236}">
                  <a16:creationId xmlns:a16="http://schemas.microsoft.com/office/drawing/2014/main" id="{397E29E0-4660-AC44-AA91-82129C1E3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0" name="Freeform 46">
              <a:extLst>
                <a:ext uri="{FF2B5EF4-FFF2-40B4-BE49-F238E27FC236}">
                  <a16:creationId xmlns:a16="http://schemas.microsoft.com/office/drawing/2014/main" id="{30250504-C013-FB41-8C0E-CC245995D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81" name="Group 122">
            <a:extLst>
              <a:ext uri="{FF2B5EF4-FFF2-40B4-BE49-F238E27FC236}">
                <a16:creationId xmlns:a16="http://schemas.microsoft.com/office/drawing/2014/main" id="{67283CD5-0255-B34C-BF7E-E084473C74C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77138" y="4315989"/>
            <a:ext cx="496566" cy="484180"/>
            <a:chOff x="487" y="3214"/>
            <a:chExt cx="441" cy="430"/>
          </a:xfrm>
          <a:solidFill>
            <a:schemeClr val="accent1"/>
          </a:solidFill>
        </p:grpSpPr>
        <p:sp>
          <p:nvSpPr>
            <p:cNvPr id="282" name="Freeform 123">
              <a:extLst>
                <a:ext uri="{FF2B5EF4-FFF2-40B4-BE49-F238E27FC236}">
                  <a16:creationId xmlns:a16="http://schemas.microsoft.com/office/drawing/2014/main" id="{72773FE5-CE95-0F4A-A086-070B43C2F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" y="3214"/>
              <a:ext cx="257" cy="233"/>
            </a:xfrm>
            <a:custGeom>
              <a:avLst/>
              <a:gdLst>
                <a:gd name="T0" fmla="*/ 66 w 168"/>
                <a:gd name="T1" fmla="*/ 156 h 156"/>
                <a:gd name="T2" fmla="*/ 62 w 168"/>
                <a:gd name="T3" fmla="*/ 154 h 156"/>
                <a:gd name="T4" fmla="*/ 28 w 168"/>
                <a:gd name="T5" fmla="*/ 120 h 156"/>
                <a:gd name="T6" fmla="*/ 18 w 168"/>
                <a:gd name="T7" fmla="*/ 120 h 156"/>
                <a:gd name="T8" fmla="*/ 0 w 168"/>
                <a:gd name="T9" fmla="*/ 102 h 156"/>
                <a:gd name="T10" fmla="*/ 0 w 168"/>
                <a:gd name="T11" fmla="*/ 18 h 156"/>
                <a:gd name="T12" fmla="*/ 18 w 168"/>
                <a:gd name="T13" fmla="*/ 0 h 156"/>
                <a:gd name="T14" fmla="*/ 150 w 168"/>
                <a:gd name="T15" fmla="*/ 0 h 156"/>
                <a:gd name="T16" fmla="*/ 168 w 168"/>
                <a:gd name="T17" fmla="*/ 18 h 156"/>
                <a:gd name="T18" fmla="*/ 168 w 168"/>
                <a:gd name="T19" fmla="*/ 102 h 156"/>
                <a:gd name="T20" fmla="*/ 150 w 168"/>
                <a:gd name="T21" fmla="*/ 120 h 156"/>
                <a:gd name="T22" fmla="*/ 72 w 168"/>
                <a:gd name="T23" fmla="*/ 120 h 156"/>
                <a:gd name="T24" fmla="*/ 72 w 168"/>
                <a:gd name="T25" fmla="*/ 150 h 156"/>
                <a:gd name="T26" fmla="*/ 69 w 168"/>
                <a:gd name="T27" fmla="*/ 156 h 156"/>
                <a:gd name="T28" fmla="*/ 66 w 168"/>
                <a:gd name="T29" fmla="*/ 156 h 156"/>
                <a:gd name="T30" fmla="*/ 18 w 168"/>
                <a:gd name="T31" fmla="*/ 12 h 156"/>
                <a:gd name="T32" fmla="*/ 12 w 168"/>
                <a:gd name="T33" fmla="*/ 18 h 156"/>
                <a:gd name="T34" fmla="*/ 12 w 168"/>
                <a:gd name="T35" fmla="*/ 102 h 156"/>
                <a:gd name="T36" fmla="*/ 18 w 168"/>
                <a:gd name="T37" fmla="*/ 108 h 156"/>
                <a:gd name="T38" fmla="*/ 30 w 168"/>
                <a:gd name="T39" fmla="*/ 108 h 156"/>
                <a:gd name="T40" fmla="*/ 34 w 168"/>
                <a:gd name="T41" fmla="*/ 110 h 156"/>
                <a:gd name="T42" fmla="*/ 60 w 168"/>
                <a:gd name="T43" fmla="*/ 136 h 156"/>
                <a:gd name="T44" fmla="*/ 60 w 168"/>
                <a:gd name="T45" fmla="*/ 114 h 156"/>
                <a:gd name="T46" fmla="*/ 66 w 168"/>
                <a:gd name="T47" fmla="*/ 108 h 156"/>
                <a:gd name="T48" fmla="*/ 150 w 168"/>
                <a:gd name="T49" fmla="*/ 108 h 156"/>
                <a:gd name="T50" fmla="*/ 156 w 168"/>
                <a:gd name="T51" fmla="*/ 102 h 156"/>
                <a:gd name="T52" fmla="*/ 156 w 168"/>
                <a:gd name="T53" fmla="*/ 18 h 156"/>
                <a:gd name="T54" fmla="*/ 150 w 168"/>
                <a:gd name="T55" fmla="*/ 12 h 156"/>
                <a:gd name="T56" fmla="*/ 18 w 168"/>
                <a:gd name="T57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156">
                  <a:moveTo>
                    <a:pt x="66" y="156"/>
                  </a:moveTo>
                  <a:cubicBezTo>
                    <a:pt x="65" y="156"/>
                    <a:pt x="63" y="156"/>
                    <a:pt x="62" y="154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8" y="120"/>
                    <a:pt x="0" y="112"/>
                    <a:pt x="0" y="10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60" y="0"/>
                    <a:pt x="168" y="8"/>
                    <a:pt x="168" y="18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68" y="112"/>
                    <a:pt x="160" y="120"/>
                    <a:pt x="150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3"/>
                    <a:pt x="71" y="155"/>
                    <a:pt x="69" y="156"/>
                  </a:cubicBezTo>
                  <a:cubicBezTo>
                    <a:pt x="68" y="156"/>
                    <a:pt x="67" y="156"/>
                    <a:pt x="66" y="15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5" y="108"/>
                    <a:pt x="18" y="108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32" y="108"/>
                    <a:pt x="33" y="109"/>
                    <a:pt x="34" y="110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1"/>
                    <a:pt x="63" y="108"/>
                    <a:pt x="66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4" y="108"/>
                    <a:pt x="156" y="105"/>
                    <a:pt x="156" y="102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15"/>
                    <a:pt x="154" y="12"/>
                    <a:pt x="150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3" name="Freeform 124">
              <a:extLst>
                <a:ext uri="{FF2B5EF4-FFF2-40B4-BE49-F238E27FC236}">
                  <a16:creationId xmlns:a16="http://schemas.microsoft.com/office/drawing/2014/main" id="{6CDD5E0D-6567-8F41-ADDA-487327009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4" name="Freeform 125">
              <a:extLst>
                <a:ext uri="{FF2B5EF4-FFF2-40B4-BE49-F238E27FC236}">
                  <a16:creationId xmlns:a16="http://schemas.microsoft.com/office/drawing/2014/main" id="{5E033DBE-D634-B34B-A4D9-A3AB7C0A5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5" name="Freeform 126">
              <a:extLst>
                <a:ext uri="{FF2B5EF4-FFF2-40B4-BE49-F238E27FC236}">
                  <a16:creationId xmlns:a16="http://schemas.microsoft.com/office/drawing/2014/main" id="{88700ED7-B9BA-B04A-9A1A-F877F79FB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6" name="Freeform 127">
              <a:extLst>
                <a:ext uri="{FF2B5EF4-FFF2-40B4-BE49-F238E27FC236}">
                  <a16:creationId xmlns:a16="http://schemas.microsoft.com/office/drawing/2014/main" id="{BD63F862-ED81-B442-A78A-FA6F5D451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7" name="Freeform 128">
              <a:extLst>
                <a:ext uri="{FF2B5EF4-FFF2-40B4-BE49-F238E27FC236}">
                  <a16:creationId xmlns:a16="http://schemas.microsoft.com/office/drawing/2014/main" id="{52268FC6-A33C-ED46-9336-05D86CD136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" y="3465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8" name="Freeform 129">
              <a:extLst>
                <a:ext uri="{FF2B5EF4-FFF2-40B4-BE49-F238E27FC236}">
                  <a16:creationId xmlns:a16="http://schemas.microsoft.com/office/drawing/2014/main" id="{56D30168-2DF4-C24E-A79D-080A99416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" y="3554"/>
              <a:ext cx="165" cy="90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9" name="Freeform 130">
              <a:extLst>
                <a:ext uri="{FF2B5EF4-FFF2-40B4-BE49-F238E27FC236}">
                  <a16:creationId xmlns:a16="http://schemas.microsoft.com/office/drawing/2014/main" id="{A4CCAC9E-9F1D-7349-BC9A-B1EF22D51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50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0" name="Freeform 131">
              <a:extLst>
                <a:ext uri="{FF2B5EF4-FFF2-40B4-BE49-F238E27FC236}">
                  <a16:creationId xmlns:a16="http://schemas.microsoft.com/office/drawing/2014/main" id="{747CB487-9672-EB4E-BF7A-C18B01144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86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1" name="Freeform 132">
              <a:extLst>
                <a:ext uri="{FF2B5EF4-FFF2-40B4-BE49-F238E27FC236}">
                  <a16:creationId xmlns:a16="http://schemas.microsoft.com/office/drawing/2014/main" id="{5B3A23BE-3A97-9841-A871-547EA51CC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322"/>
              <a:ext cx="147" cy="17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92" name="Group 140">
            <a:extLst>
              <a:ext uri="{FF2B5EF4-FFF2-40B4-BE49-F238E27FC236}">
                <a16:creationId xmlns:a16="http://schemas.microsoft.com/office/drawing/2014/main" id="{AA388C1F-8ED0-A044-89DE-83D0EEEFC80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2164" y="1923077"/>
            <a:ext cx="513762" cy="513760"/>
            <a:chOff x="1560" y="3157"/>
            <a:chExt cx="426" cy="426"/>
          </a:xfrm>
          <a:solidFill>
            <a:schemeClr val="accent1"/>
          </a:solidFill>
        </p:grpSpPr>
        <p:sp>
          <p:nvSpPr>
            <p:cNvPr id="293" name="Freeform 141">
              <a:extLst>
                <a:ext uri="{FF2B5EF4-FFF2-40B4-BE49-F238E27FC236}">
                  <a16:creationId xmlns:a16="http://schemas.microsoft.com/office/drawing/2014/main" id="{6DC37675-C2E9-FC4D-97FC-14D1439C6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211"/>
              <a:ext cx="142" cy="141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4" name="Freeform 142">
              <a:extLst>
                <a:ext uri="{FF2B5EF4-FFF2-40B4-BE49-F238E27FC236}">
                  <a16:creationId xmlns:a16="http://schemas.microsoft.com/office/drawing/2014/main" id="{4F2931D0-0ECD-044F-B8D7-5EE83E53F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" y="3157"/>
              <a:ext cx="262" cy="392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5" name="Freeform 143">
              <a:extLst>
                <a:ext uri="{FF2B5EF4-FFF2-40B4-BE49-F238E27FC236}">
                  <a16:creationId xmlns:a16="http://schemas.microsoft.com/office/drawing/2014/main" id="{2A0F5EEC-4050-F048-8AF4-786AD6520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499"/>
              <a:ext cx="426" cy="84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96" name="Group 265">
            <a:extLst>
              <a:ext uri="{FF2B5EF4-FFF2-40B4-BE49-F238E27FC236}">
                <a16:creationId xmlns:a16="http://schemas.microsoft.com/office/drawing/2014/main" id="{DB574722-631E-164E-AF27-0911A2FEC32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502" y="1940477"/>
            <a:ext cx="477838" cy="478960"/>
            <a:chOff x="4480" y="2998"/>
            <a:chExt cx="426" cy="427"/>
          </a:xfrm>
          <a:solidFill>
            <a:schemeClr val="accent1"/>
          </a:solidFill>
        </p:grpSpPr>
        <p:sp>
          <p:nvSpPr>
            <p:cNvPr id="297" name="Freeform 266">
              <a:extLst>
                <a:ext uri="{FF2B5EF4-FFF2-40B4-BE49-F238E27FC236}">
                  <a16:creationId xmlns:a16="http://schemas.microsoft.com/office/drawing/2014/main" id="{B9360F8F-35A5-2948-A337-3FA582084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8" name="Freeform 267">
              <a:extLst>
                <a:ext uri="{FF2B5EF4-FFF2-40B4-BE49-F238E27FC236}">
                  <a16:creationId xmlns:a16="http://schemas.microsoft.com/office/drawing/2014/main" id="{D12E7AA0-6D6F-1C44-A651-D3A086359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9" name="Freeform 268">
              <a:extLst>
                <a:ext uri="{FF2B5EF4-FFF2-40B4-BE49-F238E27FC236}">
                  <a16:creationId xmlns:a16="http://schemas.microsoft.com/office/drawing/2014/main" id="{106A933E-5559-2E41-A345-731A2E0F8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0" name="Rectangle 269">
              <a:extLst>
                <a:ext uri="{FF2B5EF4-FFF2-40B4-BE49-F238E27FC236}">
                  <a16:creationId xmlns:a16="http://schemas.microsoft.com/office/drawing/2014/main" id="{9C2B5A47-940D-EA48-BAA9-4D26EB1A3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1" name="Rectangle 270">
              <a:extLst>
                <a:ext uri="{FF2B5EF4-FFF2-40B4-BE49-F238E27FC236}">
                  <a16:creationId xmlns:a16="http://schemas.microsoft.com/office/drawing/2014/main" id="{C426CD1A-3E99-F54E-9271-6DE70CA75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2" name="Rectangle 271">
              <a:extLst>
                <a:ext uri="{FF2B5EF4-FFF2-40B4-BE49-F238E27FC236}">
                  <a16:creationId xmlns:a16="http://schemas.microsoft.com/office/drawing/2014/main" id="{B3811124-B17C-D94B-8AD1-A4CCDE5EA5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303" name="Group 92">
            <a:extLst>
              <a:ext uri="{FF2B5EF4-FFF2-40B4-BE49-F238E27FC236}">
                <a16:creationId xmlns:a16="http://schemas.microsoft.com/office/drawing/2014/main" id="{31B23D09-8735-2E48-9CB2-8770D647F1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60155" y="5528336"/>
            <a:ext cx="578644" cy="412766"/>
            <a:chOff x="341" y="1769"/>
            <a:chExt cx="450" cy="321"/>
          </a:xfrm>
          <a:solidFill>
            <a:schemeClr val="accent1"/>
          </a:solidFill>
        </p:grpSpPr>
        <p:sp>
          <p:nvSpPr>
            <p:cNvPr id="304" name="Freeform 93">
              <a:extLst>
                <a:ext uri="{FF2B5EF4-FFF2-40B4-BE49-F238E27FC236}">
                  <a16:creationId xmlns:a16="http://schemas.microsoft.com/office/drawing/2014/main" id="{D6BFE993-EF88-464D-8FCD-289EC0330F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" y="1923"/>
              <a:ext cx="101" cy="167"/>
            </a:xfrm>
            <a:custGeom>
              <a:avLst/>
              <a:gdLst>
                <a:gd name="T0" fmla="*/ 68 w 68"/>
                <a:gd name="T1" fmla="*/ 14 h 113"/>
                <a:gd name="T2" fmla="*/ 54 w 68"/>
                <a:gd name="T3" fmla="*/ 0 h 113"/>
                <a:gd name="T4" fmla="*/ 13 w 68"/>
                <a:gd name="T5" fmla="*/ 0 h 113"/>
                <a:gd name="T6" fmla="*/ 0 w 68"/>
                <a:gd name="T7" fmla="*/ 14 h 113"/>
                <a:gd name="T8" fmla="*/ 0 w 68"/>
                <a:gd name="T9" fmla="*/ 100 h 113"/>
                <a:gd name="T10" fmla="*/ 13 w 68"/>
                <a:gd name="T11" fmla="*/ 113 h 113"/>
                <a:gd name="T12" fmla="*/ 54 w 68"/>
                <a:gd name="T13" fmla="*/ 113 h 113"/>
                <a:gd name="T14" fmla="*/ 68 w 68"/>
                <a:gd name="T15" fmla="*/ 100 h 113"/>
                <a:gd name="T16" fmla="*/ 68 w 68"/>
                <a:gd name="T17" fmla="*/ 14 h 113"/>
                <a:gd name="T18" fmla="*/ 58 w 68"/>
                <a:gd name="T19" fmla="*/ 100 h 113"/>
                <a:gd name="T20" fmla="*/ 54 w 68"/>
                <a:gd name="T21" fmla="*/ 104 h 113"/>
                <a:gd name="T22" fmla="*/ 13 w 68"/>
                <a:gd name="T23" fmla="*/ 104 h 113"/>
                <a:gd name="T24" fmla="*/ 9 w 68"/>
                <a:gd name="T25" fmla="*/ 100 h 113"/>
                <a:gd name="T26" fmla="*/ 9 w 68"/>
                <a:gd name="T27" fmla="*/ 90 h 113"/>
                <a:gd name="T28" fmla="*/ 58 w 68"/>
                <a:gd name="T29" fmla="*/ 90 h 113"/>
                <a:gd name="T30" fmla="*/ 58 w 68"/>
                <a:gd name="T31" fmla="*/ 100 h 113"/>
                <a:gd name="T32" fmla="*/ 58 w 68"/>
                <a:gd name="T33" fmla="*/ 81 h 113"/>
                <a:gd name="T34" fmla="*/ 9 w 68"/>
                <a:gd name="T35" fmla="*/ 81 h 113"/>
                <a:gd name="T36" fmla="*/ 9 w 68"/>
                <a:gd name="T37" fmla="*/ 31 h 113"/>
                <a:gd name="T38" fmla="*/ 58 w 68"/>
                <a:gd name="T39" fmla="*/ 31 h 113"/>
                <a:gd name="T40" fmla="*/ 58 w 68"/>
                <a:gd name="T41" fmla="*/ 81 h 113"/>
                <a:gd name="T42" fmla="*/ 58 w 68"/>
                <a:gd name="T43" fmla="*/ 22 h 113"/>
                <a:gd name="T44" fmla="*/ 9 w 68"/>
                <a:gd name="T45" fmla="*/ 22 h 113"/>
                <a:gd name="T46" fmla="*/ 9 w 68"/>
                <a:gd name="T47" fmla="*/ 14 h 113"/>
                <a:gd name="T48" fmla="*/ 13 w 68"/>
                <a:gd name="T49" fmla="*/ 9 h 113"/>
                <a:gd name="T50" fmla="*/ 54 w 68"/>
                <a:gd name="T51" fmla="*/ 9 h 113"/>
                <a:gd name="T52" fmla="*/ 58 w 68"/>
                <a:gd name="T53" fmla="*/ 14 h 113"/>
                <a:gd name="T54" fmla="*/ 58 w 68"/>
                <a:gd name="T55" fmla="*/ 2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13">
                  <a:moveTo>
                    <a:pt x="68" y="14"/>
                  </a:moveTo>
                  <a:cubicBezTo>
                    <a:pt x="68" y="6"/>
                    <a:pt x="62" y="0"/>
                    <a:pt x="5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7"/>
                    <a:pt x="6" y="113"/>
                    <a:pt x="13" y="113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62" y="113"/>
                    <a:pt x="68" y="107"/>
                    <a:pt x="68" y="100"/>
                  </a:cubicBezTo>
                  <a:lnTo>
                    <a:pt x="68" y="14"/>
                  </a:lnTo>
                  <a:close/>
                  <a:moveTo>
                    <a:pt x="58" y="100"/>
                  </a:moveTo>
                  <a:cubicBezTo>
                    <a:pt x="58" y="102"/>
                    <a:pt x="56" y="104"/>
                    <a:pt x="5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1" y="104"/>
                    <a:pt x="9" y="102"/>
                    <a:pt x="9" y="10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58" y="90"/>
                    <a:pt x="58" y="90"/>
                    <a:pt x="58" y="90"/>
                  </a:cubicBezTo>
                  <a:lnTo>
                    <a:pt x="58" y="100"/>
                  </a:lnTo>
                  <a:close/>
                  <a:moveTo>
                    <a:pt x="58" y="81"/>
                  </a:moveTo>
                  <a:cubicBezTo>
                    <a:pt x="9" y="81"/>
                    <a:pt x="9" y="81"/>
                    <a:pt x="9" y="8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58" y="31"/>
                    <a:pt x="58" y="31"/>
                    <a:pt x="58" y="31"/>
                  </a:cubicBezTo>
                  <a:lnTo>
                    <a:pt x="58" y="81"/>
                  </a:lnTo>
                  <a:close/>
                  <a:moveTo>
                    <a:pt x="58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11" y="9"/>
                    <a:pt x="1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6" y="9"/>
                    <a:pt x="58" y="11"/>
                    <a:pt x="58" y="14"/>
                  </a:cubicBezTo>
                  <a:lnTo>
                    <a:pt x="5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5" name="Freeform 94">
              <a:extLst>
                <a:ext uri="{FF2B5EF4-FFF2-40B4-BE49-F238E27FC236}">
                  <a16:creationId xmlns:a16="http://schemas.microsoft.com/office/drawing/2014/main" id="{37409101-31C8-E04F-8744-C456BF405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" y="1806"/>
              <a:ext cx="321" cy="194"/>
            </a:xfrm>
            <a:custGeom>
              <a:avLst/>
              <a:gdLst>
                <a:gd name="T0" fmla="*/ 217 w 217"/>
                <a:gd name="T1" fmla="*/ 5 h 131"/>
                <a:gd name="T2" fmla="*/ 212 w 217"/>
                <a:gd name="T3" fmla="*/ 0 h 131"/>
                <a:gd name="T4" fmla="*/ 5 w 217"/>
                <a:gd name="T5" fmla="*/ 0 h 131"/>
                <a:gd name="T6" fmla="*/ 0 w 217"/>
                <a:gd name="T7" fmla="*/ 5 h 131"/>
                <a:gd name="T8" fmla="*/ 0 w 217"/>
                <a:gd name="T9" fmla="*/ 29 h 131"/>
                <a:gd name="T10" fmla="*/ 10 w 217"/>
                <a:gd name="T11" fmla="*/ 29 h 131"/>
                <a:gd name="T12" fmla="*/ 10 w 217"/>
                <a:gd name="T13" fmla="*/ 10 h 131"/>
                <a:gd name="T14" fmla="*/ 207 w 217"/>
                <a:gd name="T15" fmla="*/ 10 h 131"/>
                <a:gd name="T16" fmla="*/ 207 w 217"/>
                <a:gd name="T17" fmla="*/ 121 h 131"/>
                <a:gd name="T18" fmla="*/ 97 w 217"/>
                <a:gd name="T19" fmla="*/ 121 h 131"/>
                <a:gd name="T20" fmla="*/ 97 w 217"/>
                <a:gd name="T21" fmla="*/ 131 h 131"/>
                <a:gd name="T22" fmla="*/ 212 w 217"/>
                <a:gd name="T23" fmla="*/ 131 h 131"/>
                <a:gd name="T24" fmla="*/ 217 w 217"/>
                <a:gd name="T25" fmla="*/ 126 h 131"/>
                <a:gd name="T26" fmla="*/ 217 w 217"/>
                <a:gd name="T27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131">
                  <a:moveTo>
                    <a:pt x="217" y="5"/>
                  </a:moveTo>
                  <a:cubicBezTo>
                    <a:pt x="217" y="2"/>
                    <a:pt x="215" y="0"/>
                    <a:pt x="21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21"/>
                    <a:pt x="207" y="121"/>
                    <a:pt x="207" y="121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5" y="131"/>
                    <a:pt x="217" y="129"/>
                    <a:pt x="217" y="126"/>
                  </a:cubicBezTo>
                  <a:lnTo>
                    <a:pt x="2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6" name="Freeform 95">
              <a:extLst>
                <a:ext uri="{FF2B5EF4-FFF2-40B4-BE49-F238E27FC236}">
                  <a16:creationId xmlns:a16="http://schemas.microsoft.com/office/drawing/2014/main" id="{844F5876-66F7-7740-8476-CDBA4D0E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769"/>
              <a:ext cx="409" cy="321"/>
            </a:xfrm>
            <a:custGeom>
              <a:avLst/>
              <a:gdLst>
                <a:gd name="T0" fmla="*/ 272 w 277"/>
                <a:gd name="T1" fmla="*/ 171 h 217"/>
                <a:gd name="T2" fmla="*/ 265 w 277"/>
                <a:gd name="T3" fmla="*/ 171 h 217"/>
                <a:gd name="T4" fmla="*/ 265 w 277"/>
                <a:gd name="T5" fmla="*/ 24 h 217"/>
                <a:gd name="T6" fmla="*/ 242 w 277"/>
                <a:gd name="T7" fmla="*/ 0 h 217"/>
                <a:gd name="T8" fmla="*/ 23 w 277"/>
                <a:gd name="T9" fmla="*/ 0 h 217"/>
                <a:gd name="T10" fmla="*/ 0 w 277"/>
                <a:gd name="T11" fmla="*/ 24 h 217"/>
                <a:gd name="T12" fmla="*/ 0 w 277"/>
                <a:gd name="T13" fmla="*/ 54 h 217"/>
                <a:gd name="T14" fmla="*/ 10 w 277"/>
                <a:gd name="T15" fmla="*/ 54 h 217"/>
                <a:gd name="T16" fmla="*/ 10 w 277"/>
                <a:gd name="T17" fmla="*/ 24 h 217"/>
                <a:gd name="T18" fmla="*/ 23 w 277"/>
                <a:gd name="T19" fmla="*/ 10 h 217"/>
                <a:gd name="T20" fmla="*/ 242 w 277"/>
                <a:gd name="T21" fmla="*/ 10 h 217"/>
                <a:gd name="T22" fmla="*/ 255 w 277"/>
                <a:gd name="T23" fmla="*/ 24 h 217"/>
                <a:gd name="T24" fmla="*/ 255 w 277"/>
                <a:gd name="T25" fmla="*/ 171 h 217"/>
                <a:gd name="T26" fmla="*/ 163 w 277"/>
                <a:gd name="T27" fmla="*/ 171 h 217"/>
                <a:gd name="T28" fmla="*/ 158 w 277"/>
                <a:gd name="T29" fmla="*/ 176 h 217"/>
                <a:gd name="T30" fmla="*/ 158 w 277"/>
                <a:gd name="T31" fmla="*/ 183 h 217"/>
                <a:gd name="T32" fmla="*/ 121 w 277"/>
                <a:gd name="T33" fmla="*/ 183 h 217"/>
                <a:gd name="T34" fmla="*/ 121 w 277"/>
                <a:gd name="T35" fmla="*/ 193 h 217"/>
                <a:gd name="T36" fmla="*/ 163 w 277"/>
                <a:gd name="T37" fmla="*/ 193 h 217"/>
                <a:gd name="T38" fmla="*/ 168 w 277"/>
                <a:gd name="T39" fmla="*/ 188 h 217"/>
                <a:gd name="T40" fmla="*/ 168 w 277"/>
                <a:gd name="T41" fmla="*/ 181 h 217"/>
                <a:gd name="T42" fmla="*/ 267 w 277"/>
                <a:gd name="T43" fmla="*/ 181 h 217"/>
                <a:gd name="T44" fmla="*/ 267 w 277"/>
                <a:gd name="T45" fmla="*/ 200 h 217"/>
                <a:gd name="T46" fmla="*/ 260 w 277"/>
                <a:gd name="T47" fmla="*/ 207 h 217"/>
                <a:gd name="T48" fmla="*/ 121 w 277"/>
                <a:gd name="T49" fmla="*/ 207 h 217"/>
                <a:gd name="T50" fmla="*/ 121 w 277"/>
                <a:gd name="T51" fmla="*/ 208 h 217"/>
                <a:gd name="T52" fmla="*/ 117 w 277"/>
                <a:gd name="T53" fmla="*/ 216 h 217"/>
                <a:gd name="T54" fmla="*/ 116 w 277"/>
                <a:gd name="T55" fmla="*/ 217 h 217"/>
                <a:gd name="T56" fmla="*/ 260 w 277"/>
                <a:gd name="T57" fmla="*/ 217 h 217"/>
                <a:gd name="T58" fmla="*/ 277 w 277"/>
                <a:gd name="T59" fmla="*/ 200 h 217"/>
                <a:gd name="T60" fmla="*/ 277 w 277"/>
                <a:gd name="T61" fmla="*/ 176 h 217"/>
                <a:gd name="T62" fmla="*/ 272 w 277"/>
                <a:gd name="T63" fmla="*/ 17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7" h="217">
                  <a:moveTo>
                    <a:pt x="272" y="171"/>
                  </a:moveTo>
                  <a:cubicBezTo>
                    <a:pt x="265" y="171"/>
                    <a:pt x="265" y="171"/>
                    <a:pt x="265" y="171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11"/>
                    <a:pt x="255" y="0"/>
                    <a:pt x="24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16"/>
                    <a:pt x="16" y="10"/>
                    <a:pt x="23" y="10"/>
                  </a:cubicBezTo>
                  <a:cubicBezTo>
                    <a:pt x="242" y="10"/>
                    <a:pt x="242" y="10"/>
                    <a:pt x="242" y="10"/>
                  </a:cubicBezTo>
                  <a:cubicBezTo>
                    <a:pt x="249" y="10"/>
                    <a:pt x="255" y="16"/>
                    <a:pt x="255" y="24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163" y="171"/>
                    <a:pt x="163" y="171"/>
                    <a:pt x="163" y="171"/>
                  </a:cubicBezTo>
                  <a:cubicBezTo>
                    <a:pt x="160" y="171"/>
                    <a:pt x="158" y="173"/>
                    <a:pt x="158" y="176"/>
                  </a:cubicBezTo>
                  <a:cubicBezTo>
                    <a:pt x="158" y="183"/>
                    <a:pt x="158" y="183"/>
                    <a:pt x="158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21" y="193"/>
                    <a:pt x="121" y="193"/>
                    <a:pt x="121" y="193"/>
                  </a:cubicBezTo>
                  <a:cubicBezTo>
                    <a:pt x="163" y="193"/>
                    <a:pt x="163" y="193"/>
                    <a:pt x="163" y="193"/>
                  </a:cubicBezTo>
                  <a:cubicBezTo>
                    <a:pt x="166" y="193"/>
                    <a:pt x="168" y="191"/>
                    <a:pt x="168" y="188"/>
                  </a:cubicBezTo>
                  <a:cubicBezTo>
                    <a:pt x="168" y="181"/>
                    <a:pt x="168" y="181"/>
                    <a:pt x="168" y="181"/>
                  </a:cubicBezTo>
                  <a:cubicBezTo>
                    <a:pt x="267" y="181"/>
                    <a:pt x="267" y="181"/>
                    <a:pt x="267" y="181"/>
                  </a:cubicBezTo>
                  <a:cubicBezTo>
                    <a:pt x="267" y="200"/>
                    <a:pt x="267" y="200"/>
                    <a:pt x="267" y="200"/>
                  </a:cubicBezTo>
                  <a:cubicBezTo>
                    <a:pt x="267" y="204"/>
                    <a:pt x="264" y="207"/>
                    <a:pt x="260" y="207"/>
                  </a:cubicBezTo>
                  <a:cubicBezTo>
                    <a:pt x="121" y="207"/>
                    <a:pt x="121" y="207"/>
                    <a:pt x="121" y="207"/>
                  </a:cubicBezTo>
                  <a:cubicBezTo>
                    <a:pt x="121" y="208"/>
                    <a:pt x="121" y="208"/>
                    <a:pt x="121" y="208"/>
                  </a:cubicBezTo>
                  <a:cubicBezTo>
                    <a:pt x="120" y="211"/>
                    <a:pt x="119" y="213"/>
                    <a:pt x="117" y="216"/>
                  </a:cubicBezTo>
                  <a:cubicBezTo>
                    <a:pt x="116" y="217"/>
                    <a:pt x="116" y="217"/>
                    <a:pt x="116" y="217"/>
                  </a:cubicBezTo>
                  <a:cubicBezTo>
                    <a:pt x="260" y="217"/>
                    <a:pt x="260" y="217"/>
                    <a:pt x="260" y="217"/>
                  </a:cubicBezTo>
                  <a:cubicBezTo>
                    <a:pt x="270" y="217"/>
                    <a:pt x="277" y="209"/>
                    <a:pt x="277" y="200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173"/>
                    <a:pt x="275" y="171"/>
                    <a:pt x="27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7" name="Freeform 96">
              <a:extLst>
                <a:ext uri="{FF2B5EF4-FFF2-40B4-BE49-F238E27FC236}">
                  <a16:creationId xmlns:a16="http://schemas.microsoft.com/office/drawing/2014/main" id="{A289E8F4-C028-6148-B109-3D339897D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" y="1895"/>
              <a:ext cx="115" cy="154"/>
            </a:xfrm>
            <a:custGeom>
              <a:avLst/>
              <a:gdLst>
                <a:gd name="T0" fmla="*/ 78 w 78"/>
                <a:gd name="T1" fmla="*/ 9 h 104"/>
                <a:gd name="T2" fmla="*/ 78 w 78"/>
                <a:gd name="T3" fmla="*/ 5 h 104"/>
                <a:gd name="T4" fmla="*/ 73 w 78"/>
                <a:gd name="T5" fmla="*/ 0 h 104"/>
                <a:gd name="T6" fmla="*/ 5 w 78"/>
                <a:gd name="T7" fmla="*/ 0 h 104"/>
                <a:gd name="T8" fmla="*/ 0 w 78"/>
                <a:gd name="T9" fmla="*/ 5 h 104"/>
                <a:gd name="T10" fmla="*/ 0 w 78"/>
                <a:gd name="T11" fmla="*/ 100 h 104"/>
                <a:gd name="T12" fmla="*/ 5 w 78"/>
                <a:gd name="T13" fmla="*/ 104 h 104"/>
                <a:gd name="T14" fmla="*/ 43 w 78"/>
                <a:gd name="T15" fmla="*/ 104 h 104"/>
                <a:gd name="T16" fmla="*/ 43 w 78"/>
                <a:gd name="T17" fmla="*/ 95 h 104"/>
                <a:gd name="T18" fmla="*/ 10 w 78"/>
                <a:gd name="T19" fmla="*/ 95 h 104"/>
                <a:gd name="T20" fmla="*/ 10 w 78"/>
                <a:gd name="T21" fmla="*/ 9 h 104"/>
                <a:gd name="T22" fmla="*/ 78 w 78"/>
                <a:gd name="T23" fmla="*/ 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04">
                  <a:moveTo>
                    <a:pt x="78" y="9"/>
                  </a:move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3" y="104"/>
                    <a:pt x="5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78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8" name="Freeform 97">
              <a:extLst>
                <a:ext uri="{FF2B5EF4-FFF2-40B4-BE49-F238E27FC236}">
                  <a16:creationId xmlns:a16="http://schemas.microsoft.com/office/drawing/2014/main" id="{30B1422A-1FC0-E644-86CF-3A9C1C0E7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" y="1864"/>
              <a:ext cx="171" cy="226"/>
            </a:xfrm>
            <a:custGeom>
              <a:avLst/>
              <a:gdLst>
                <a:gd name="T0" fmla="*/ 99 w 116"/>
                <a:gd name="T1" fmla="*/ 9 h 153"/>
                <a:gd name="T2" fmla="*/ 106 w 116"/>
                <a:gd name="T3" fmla="*/ 17 h 153"/>
                <a:gd name="T4" fmla="*/ 106 w 116"/>
                <a:gd name="T5" fmla="*/ 31 h 153"/>
                <a:gd name="T6" fmla="*/ 116 w 116"/>
                <a:gd name="T7" fmla="*/ 31 h 153"/>
                <a:gd name="T8" fmla="*/ 116 w 116"/>
                <a:gd name="T9" fmla="*/ 17 h 153"/>
                <a:gd name="T10" fmla="*/ 99 w 116"/>
                <a:gd name="T11" fmla="*/ 0 h 153"/>
                <a:gd name="T12" fmla="*/ 17 w 116"/>
                <a:gd name="T13" fmla="*/ 0 h 153"/>
                <a:gd name="T14" fmla="*/ 0 w 116"/>
                <a:gd name="T15" fmla="*/ 17 h 153"/>
                <a:gd name="T16" fmla="*/ 0 w 116"/>
                <a:gd name="T17" fmla="*/ 136 h 153"/>
                <a:gd name="T18" fmla="*/ 17 w 116"/>
                <a:gd name="T19" fmla="*/ 153 h 153"/>
                <a:gd name="T20" fmla="*/ 68 w 116"/>
                <a:gd name="T21" fmla="*/ 153 h 153"/>
                <a:gd name="T22" fmla="*/ 67 w 116"/>
                <a:gd name="T23" fmla="*/ 152 h 153"/>
                <a:gd name="T24" fmla="*/ 63 w 116"/>
                <a:gd name="T25" fmla="*/ 144 h 153"/>
                <a:gd name="T26" fmla="*/ 63 w 116"/>
                <a:gd name="T27" fmla="*/ 144 h 153"/>
                <a:gd name="T28" fmla="*/ 17 w 116"/>
                <a:gd name="T29" fmla="*/ 144 h 153"/>
                <a:gd name="T30" fmla="*/ 10 w 116"/>
                <a:gd name="T31" fmla="*/ 136 h 153"/>
                <a:gd name="T32" fmla="*/ 10 w 116"/>
                <a:gd name="T33" fmla="*/ 17 h 153"/>
                <a:gd name="T34" fmla="*/ 17 w 116"/>
                <a:gd name="T35" fmla="*/ 9 h 153"/>
                <a:gd name="T36" fmla="*/ 99 w 116"/>
                <a:gd name="T3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153">
                  <a:moveTo>
                    <a:pt x="99" y="9"/>
                  </a:moveTo>
                  <a:cubicBezTo>
                    <a:pt x="103" y="9"/>
                    <a:pt x="106" y="13"/>
                    <a:pt x="106" y="17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7"/>
                    <a:pt x="108" y="0"/>
                    <a:pt x="9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5"/>
                    <a:pt x="8" y="153"/>
                    <a:pt x="17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5" y="150"/>
                    <a:pt x="64" y="147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3" y="144"/>
                    <a:pt x="10" y="140"/>
                    <a:pt x="10" y="13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3"/>
                    <a:pt x="13" y="9"/>
                    <a:pt x="17" y="9"/>
                  </a:cubicBezTo>
                  <a:lnTo>
                    <a:pt x="99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9" name="Oval 98">
              <a:extLst>
                <a:ext uri="{FF2B5EF4-FFF2-40B4-BE49-F238E27FC236}">
                  <a16:creationId xmlns:a16="http://schemas.microsoft.com/office/drawing/2014/main" id="{A4B792FB-71CE-1145-960B-B90FBEB0B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" y="2059"/>
              <a:ext cx="13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0" name="Oval 99">
              <a:extLst>
                <a:ext uri="{FF2B5EF4-FFF2-40B4-BE49-F238E27FC236}">
                  <a16:creationId xmlns:a16="http://schemas.microsoft.com/office/drawing/2014/main" id="{5EF5F9D8-CCE3-2343-807F-0CF85E03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882"/>
              <a:ext cx="9" cy="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1" name="Oval 100">
              <a:extLst>
                <a:ext uri="{FF2B5EF4-FFF2-40B4-BE49-F238E27FC236}">
                  <a16:creationId xmlns:a16="http://schemas.microsoft.com/office/drawing/2014/main" id="{3D380F82-1897-C145-8D61-C6B842E53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" y="2053"/>
              <a:ext cx="18" cy="2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12" name="Group 4">
            <a:extLst>
              <a:ext uri="{FF2B5EF4-FFF2-40B4-BE49-F238E27FC236}">
                <a16:creationId xmlns:a16="http://schemas.microsoft.com/office/drawing/2014/main" id="{84C17A15-152C-A348-853A-B692B4282D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7270" y="5532782"/>
            <a:ext cx="484650" cy="403874"/>
            <a:chOff x="348" y="472"/>
            <a:chExt cx="426" cy="355"/>
          </a:xfrm>
          <a:solidFill>
            <a:schemeClr val="accent1"/>
          </a:solidFill>
        </p:grpSpPr>
        <p:sp>
          <p:nvSpPr>
            <p:cNvPr id="313" name="Freeform 5">
              <a:extLst>
                <a:ext uri="{FF2B5EF4-FFF2-40B4-BE49-F238E27FC236}">
                  <a16:creationId xmlns:a16="http://schemas.microsoft.com/office/drawing/2014/main" id="{719C8B8C-D094-D74C-AF4C-E723A3C19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" y="543"/>
              <a:ext cx="373" cy="18"/>
            </a:xfrm>
            <a:custGeom>
              <a:avLst/>
              <a:gdLst>
                <a:gd name="T0" fmla="*/ 246 w 252"/>
                <a:gd name="T1" fmla="*/ 12 h 12"/>
                <a:gd name="T2" fmla="*/ 6 w 252"/>
                <a:gd name="T3" fmla="*/ 12 h 12"/>
                <a:gd name="T4" fmla="*/ 0 w 252"/>
                <a:gd name="T5" fmla="*/ 6 h 12"/>
                <a:gd name="T6" fmla="*/ 6 w 252"/>
                <a:gd name="T7" fmla="*/ 0 h 12"/>
                <a:gd name="T8" fmla="*/ 246 w 252"/>
                <a:gd name="T9" fmla="*/ 0 h 12"/>
                <a:gd name="T10" fmla="*/ 252 w 252"/>
                <a:gd name="T11" fmla="*/ 6 h 12"/>
                <a:gd name="T12" fmla="*/ 246 w 25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12">
                  <a:moveTo>
                    <a:pt x="24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0" y="0"/>
                    <a:pt x="252" y="3"/>
                    <a:pt x="252" y="6"/>
                  </a:cubicBezTo>
                  <a:cubicBezTo>
                    <a:pt x="252" y="9"/>
                    <a:pt x="250" y="12"/>
                    <a:pt x="2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4" name="Oval 6">
              <a:extLst>
                <a:ext uri="{FF2B5EF4-FFF2-40B4-BE49-F238E27FC236}">
                  <a16:creationId xmlns:a16="http://schemas.microsoft.com/office/drawing/2014/main" id="{0E3079FA-EBC0-1C4F-BF6F-4EF1A488E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5" name="Oval 7">
              <a:extLst>
                <a:ext uri="{FF2B5EF4-FFF2-40B4-BE49-F238E27FC236}">
                  <a16:creationId xmlns:a16="http://schemas.microsoft.com/office/drawing/2014/main" id="{1020AE0A-3CB9-274A-B949-2F4B93C8F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507"/>
              <a:ext cx="17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6" name="Oval 8">
              <a:extLst>
                <a:ext uri="{FF2B5EF4-FFF2-40B4-BE49-F238E27FC236}">
                  <a16:creationId xmlns:a16="http://schemas.microsoft.com/office/drawing/2014/main" id="{98F34F8F-ABB7-4848-A76F-9F6C562D9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7" name="Freeform 9">
              <a:extLst>
                <a:ext uri="{FF2B5EF4-FFF2-40B4-BE49-F238E27FC236}">
                  <a16:creationId xmlns:a16="http://schemas.microsoft.com/office/drawing/2014/main" id="{AA090CA5-2F52-AF46-BB3E-337567489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472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30 h 192"/>
                <a:gd name="T8" fmla="*/ 30 w 252"/>
                <a:gd name="T9" fmla="*/ 0 h 192"/>
                <a:gd name="T10" fmla="*/ 222 w 252"/>
                <a:gd name="T11" fmla="*/ 0 h 192"/>
                <a:gd name="T12" fmla="*/ 252 w 252"/>
                <a:gd name="T13" fmla="*/ 30 h 192"/>
                <a:gd name="T14" fmla="*/ 252 w 252"/>
                <a:gd name="T15" fmla="*/ 162 h 192"/>
                <a:gd name="T16" fmla="*/ 222 w 252"/>
                <a:gd name="T17" fmla="*/ 192 h 192"/>
                <a:gd name="T18" fmla="*/ 30 w 252"/>
                <a:gd name="T19" fmla="*/ 12 h 192"/>
                <a:gd name="T20" fmla="*/ 12 w 252"/>
                <a:gd name="T21" fmla="*/ 30 h 192"/>
                <a:gd name="T22" fmla="*/ 12 w 252"/>
                <a:gd name="T23" fmla="*/ 162 h 192"/>
                <a:gd name="T24" fmla="*/ 30 w 252"/>
                <a:gd name="T25" fmla="*/ 180 h 192"/>
                <a:gd name="T26" fmla="*/ 222 w 252"/>
                <a:gd name="T27" fmla="*/ 180 h 192"/>
                <a:gd name="T28" fmla="*/ 240 w 252"/>
                <a:gd name="T29" fmla="*/ 162 h 192"/>
                <a:gd name="T30" fmla="*/ 240 w 252"/>
                <a:gd name="T31" fmla="*/ 30 h 192"/>
                <a:gd name="T32" fmla="*/ 222 w 252"/>
                <a:gd name="T33" fmla="*/ 12 h 192"/>
                <a:gd name="T34" fmla="*/ 30 w 25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8" name="Freeform 10">
              <a:extLst>
                <a:ext uri="{FF2B5EF4-FFF2-40B4-BE49-F238E27FC236}">
                  <a16:creationId xmlns:a16="http://schemas.microsoft.com/office/drawing/2014/main" id="{8894367A-92E9-164E-BC86-5B276995A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" y="61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9" name="Freeform 11">
              <a:extLst>
                <a:ext uri="{FF2B5EF4-FFF2-40B4-BE49-F238E27FC236}">
                  <a16:creationId xmlns:a16="http://schemas.microsoft.com/office/drawing/2014/main" id="{8C879DF6-8A8C-D14C-9B9C-E0EB824DC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" y="543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138 h 192"/>
                <a:gd name="T8" fmla="*/ 6 w 252"/>
                <a:gd name="T9" fmla="*/ 132 h 192"/>
                <a:gd name="T10" fmla="*/ 12 w 252"/>
                <a:gd name="T11" fmla="*/ 138 h 192"/>
                <a:gd name="T12" fmla="*/ 12 w 252"/>
                <a:gd name="T13" fmla="*/ 162 h 192"/>
                <a:gd name="T14" fmla="*/ 30 w 252"/>
                <a:gd name="T15" fmla="*/ 180 h 192"/>
                <a:gd name="T16" fmla="*/ 222 w 252"/>
                <a:gd name="T17" fmla="*/ 180 h 192"/>
                <a:gd name="T18" fmla="*/ 240 w 252"/>
                <a:gd name="T19" fmla="*/ 162 h 192"/>
                <a:gd name="T20" fmla="*/ 240 w 252"/>
                <a:gd name="T21" fmla="*/ 30 h 192"/>
                <a:gd name="T22" fmla="*/ 222 w 252"/>
                <a:gd name="T23" fmla="*/ 12 h 192"/>
                <a:gd name="T24" fmla="*/ 210 w 252"/>
                <a:gd name="T25" fmla="*/ 12 h 192"/>
                <a:gd name="T26" fmla="*/ 204 w 252"/>
                <a:gd name="T27" fmla="*/ 6 h 192"/>
                <a:gd name="T28" fmla="*/ 210 w 252"/>
                <a:gd name="T29" fmla="*/ 0 h 192"/>
                <a:gd name="T30" fmla="*/ 222 w 252"/>
                <a:gd name="T31" fmla="*/ 0 h 192"/>
                <a:gd name="T32" fmla="*/ 252 w 252"/>
                <a:gd name="T33" fmla="*/ 30 h 192"/>
                <a:gd name="T34" fmla="*/ 252 w 252"/>
                <a:gd name="T35" fmla="*/ 162 h 192"/>
                <a:gd name="T36" fmla="*/ 222 w 252"/>
                <a:gd name="T3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5"/>
                    <a:pt x="3" y="132"/>
                    <a:pt x="6" y="132"/>
                  </a:cubicBezTo>
                  <a:cubicBezTo>
                    <a:pt x="10" y="132"/>
                    <a:pt x="12" y="135"/>
                    <a:pt x="12" y="138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cubicBezTo>
                    <a:pt x="210" y="12"/>
                    <a:pt x="210" y="12"/>
                    <a:pt x="210" y="12"/>
                  </a:cubicBezTo>
                  <a:cubicBezTo>
                    <a:pt x="207" y="12"/>
                    <a:pt x="204" y="9"/>
                    <a:pt x="204" y="6"/>
                  </a:cubicBezTo>
                  <a:cubicBezTo>
                    <a:pt x="204" y="3"/>
                    <a:pt x="207" y="0"/>
                    <a:pt x="21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20" name="Freeform 132">
            <a:extLst>
              <a:ext uri="{FF2B5EF4-FFF2-40B4-BE49-F238E27FC236}">
                <a16:creationId xmlns:a16="http://schemas.microsoft.com/office/drawing/2014/main" id="{45BDCAD5-FFA8-D94A-91ED-271D762E1E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9731" y="5515535"/>
            <a:ext cx="494523" cy="438368"/>
          </a:xfrm>
          <a:custGeom>
            <a:avLst/>
            <a:gdLst>
              <a:gd name="T0" fmla="*/ 9 w 133"/>
              <a:gd name="T1" fmla="*/ 0 h 116"/>
              <a:gd name="T2" fmla="*/ 0 w 133"/>
              <a:gd name="T3" fmla="*/ 91 h 116"/>
              <a:gd name="T4" fmla="*/ 56 w 133"/>
              <a:gd name="T5" fmla="*/ 99 h 116"/>
              <a:gd name="T6" fmla="*/ 39 w 133"/>
              <a:gd name="T7" fmla="*/ 110 h 116"/>
              <a:gd name="T8" fmla="*/ 39 w 133"/>
              <a:gd name="T9" fmla="*/ 116 h 116"/>
              <a:gd name="T10" fmla="*/ 97 w 133"/>
              <a:gd name="T11" fmla="*/ 113 h 116"/>
              <a:gd name="T12" fmla="*/ 78 w 133"/>
              <a:gd name="T13" fmla="*/ 110 h 116"/>
              <a:gd name="T14" fmla="*/ 124 w 133"/>
              <a:gd name="T15" fmla="*/ 99 h 116"/>
              <a:gd name="T16" fmla="*/ 133 w 133"/>
              <a:gd name="T17" fmla="*/ 8 h 116"/>
              <a:gd name="T18" fmla="*/ 72 w 133"/>
              <a:gd name="T19" fmla="*/ 110 h 116"/>
              <a:gd name="T20" fmla="*/ 61 w 133"/>
              <a:gd name="T21" fmla="*/ 99 h 116"/>
              <a:gd name="T22" fmla="*/ 72 w 133"/>
              <a:gd name="T23" fmla="*/ 110 h 116"/>
              <a:gd name="T24" fmla="*/ 124 w 133"/>
              <a:gd name="T25" fmla="*/ 94 h 116"/>
              <a:gd name="T26" fmla="*/ 6 w 133"/>
              <a:gd name="T27" fmla="*/ 91 h 116"/>
              <a:gd name="T28" fmla="*/ 9 w 133"/>
              <a:gd name="T29" fmla="*/ 5 h 116"/>
              <a:gd name="T30" fmla="*/ 127 w 133"/>
              <a:gd name="T31" fmla="*/ 8 h 116"/>
              <a:gd name="T32" fmla="*/ 109 w 133"/>
              <a:gd name="T33" fmla="*/ 36 h 116"/>
              <a:gd name="T34" fmla="*/ 68 w 133"/>
              <a:gd name="T35" fmla="*/ 19 h 116"/>
              <a:gd name="T36" fmla="*/ 30 w 133"/>
              <a:gd name="T37" fmla="*/ 36 h 116"/>
              <a:gd name="T38" fmla="*/ 30 w 133"/>
              <a:gd name="T39" fmla="*/ 36 h 116"/>
              <a:gd name="T40" fmla="*/ 28 w 133"/>
              <a:gd name="T41" fmla="*/ 37 h 116"/>
              <a:gd name="T42" fmla="*/ 28 w 133"/>
              <a:gd name="T43" fmla="*/ 57 h 116"/>
              <a:gd name="T44" fmla="*/ 23 w 133"/>
              <a:gd name="T45" fmla="*/ 76 h 116"/>
              <a:gd name="T46" fmla="*/ 36 w 133"/>
              <a:gd name="T47" fmla="*/ 77 h 116"/>
              <a:gd name="T48" fmla="*/ 39 w 133"/>
              <a:gd name="T49" fmla="*/ 73 h 116"/>
              <a:gd name="T50" fmla="*/ 34 w 133"/>
              <a:gd name="T51" fmla="*/ 43 h 116"/>
              <a:gd name="T52" fmla="*/ 45 w 133"/>
              <a:gd name="T53" fmla="*/ 66 h 116"/>
              <a:gd name="T54" fmla="*/ 68 w 133"/>
              <a:gd name="T55" fmla="*/ 79 h 116"/>
              <a:gd name="T56" fmla="*/ 71 w 133"/>
              <a:gd name="T57" fmla="*/ 79 h 116"/>
              <a:gd name="T58" fmla="*/ 94 w 133"/>
              <a:gd name="T59" fmla="*/ 66 h 116"/>
              <a:gd name="T60" fmla="*/ 109 w 133"/>
              <a:gd name="T61" fmla="*/ 41 h 116"/>
              <a:gd name="T62" fmla="*/ 109 w 133"/>
              <a:gd name="T63" fmla="*/ 36 h 116"/>
              <a:gd name="T64" fmla="*/ 31 w 133"/>
              <a:gd name="T65" fmla="*/ 66 h 116"/>
              <a:gd name="T66" fmla="*/ 29 w 133"/>
              <a:gd name="T67" fmla="*/ 71 h 116"/>
              <a:gd name="T68" fmla="*/ 69 w 133"/>
              <a:gd name="T69" fmla="*/ 74 h 116"/>
              <a:gd name="T70" fmla="*/ 50 w 133"/>
              <a:gd name="T71" fmla="*/ 50 h 116"/>
              <a:gd name="T72" fmla="*/ 69 w 133"/>
              <a:gd name="T73" fmla="*/ 58 h 116"/>
              <a:gd name="T74" fmla="*/ 89 w 133"/>
              <a:gd name="T75" fmla="*/ 50 h 116"/>
              <a:gd name="T76" fmla="*/ 69 w 133"/>
              <a:gd name="T77" fmla="*/ 52 h 116"/>
              <a:gd name="T78" fmla="*/ 69 w 133"/>
              <a:gd name="T79" fmla="*/ 25 h 116"/>
              <a:gd name="T80" fmla="*/ 69 w 133"/>
              <a:gd name="T81" fmla="*/ 5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" h="116">
                <a:moveTo>
                  <a:pt x="12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4" y="99"/>
                  <a:pt x="9" y="99"/>
                </a:cubicBezTo>
                <a:cubicBezTo>
                  <a:pt x="56" y="99"/>
                  <a:pt x="56" y="99"/>
                  <a:pt x="56" y="99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39" y="110"/>
                  <a:pt x="39" y="110"/>
                  <a:pt x="39" y="110"/>
                </a:cubicBezTo>
                <a:cubicBezTo>
                  <a:pt x="37" y="110"/>
                  <a:pt x="36" y="111"/>
                  <a:pt x="36" y="113"/>
                </a:cubicBezTo>
                <a:cubicBezTo>
                  <a:pt x="36" y="114"/>
                  <a:pt x="37" y="116"/>
                  <a:pt x="39" y="116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6" y="116"/>
                  <a:pt x="97" y="114"/>
                  <a:pt x="97" y="113"/>
                </a:cubicBezTo>
                <a:cubicBezTo>
                  <a:pt x="97" y="111"/>
                  <a:pt x="96" y="110"/>
                  <a:pt x="94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99"/>
                  <a:pt x="78" y="99"/>
                  <a:pt x="78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9" y="99"/>
                  <a:pt x="133" y="95"/>
                  <a:pt x="133" y="91"/>
                </a:cubicBezTo>
                <a:cubicBezTo>
                  <a:pt x="133" y="8"/>
                  <a:pt x="133" y="8"/>
                  <a:pt x="133" y="8"/>
                </a:cubicBezTo>
                <a:cubicBezTo>
                  <a:pt x="133" y="4"/>
                  <a:pt x="129" y="0"/>
                  <a:pt x="124" y="0"/>
                </a:cubicBezTo>
                <a:close/>
                <a:moveTo>
                  <a:pt x="72" y="110"/>
                </a:moveTo>
                <a:cubicBezTo>
                  <a:pt x="61" y="110"/>
                  <a:pt x="61" y="110"/>
                  <a:pt x="61" y="110"/>
                </a:cubicBezTo>
                <a:cubicBezTo>
                  <a:pt x="61" y="99"/>
                  <a:pt x="61" y="99"/>
                  <a:pt x="61" y="99"/>
                </a:cubicBezTo>
                <a:cubicBezTo>
                  <a:pt x="72" y="99"/>
                  <a:pt x="72" y="99"/>
                  <a:pt x="72" y="99"/>
                </a:cubicBezTo>
                <a:lnTo>
                  <a:pt x="72" y="110"/>
                </a:lnTo>
                <a:close/>
                <a:moveTo>
                  <a:pt x="127" y="91"/>
                </a:moveTo>
                <a:cubicBezTo>
                  <a:pt x="127" y="92"/>
                  <a:pt x="126" y="94"/>
                  <a:pt x="124" y="94"/>
                </a:cubicBezTo>
                <a:cubicBezTo>
                  <a:pt x="9" y="94"/>
                  <a:pt x="9" y="94"/>
                  <a:pt x="9" y="94"/>
                </a:cubicBezTo>
                <a:cubicBezTo>
                  <a:pt x="7" y="94"/>
                  <a:pt x="6" y="92"/>
                  <a:pt x="6" y="91"/>
                </a:cubicBezTo>
                <a:cubicBezTo>
                  <a:pt x="6" y="8"/>
                  <a:pt x="6" y="8"/>
                  <a:pt x="6" y="8"/>
                </a:cubicBezTo>
                <a:cubicBezTo>
                  <a:pt x="6" y="7"/>
                  <a:pt x="7" y="5"/>
                  <a:pt x="9" y="5"/>
                </a:cubicBezTo>
                <a:cubicBezTo>
                  <a:pt x="124" y="5"/>
                  <a:pt x="124" y="5"/>
                  <a:pt x="124" y="5"/>
                </a:cubicBezTo>
                <a:cubicBezTo>
                  <a:pt x="126" y="5"/>
                  <a:pt x="127" y="7"/>
                  <a:pt x="127" y="8"/>
                </a:cubicBezTo>
                <a:lnTo>
                  <a:pt x="127" y="91"/>
                </a:lnTo>
                <a:close/>
                <a:moveTo>
                  <a:pt x="109" y="36"/>
                </a:moveTo>
                <a:cubicBezTo>
                  <a:pt x="70" y="19"/>
                  <a:pt x="70" y="19"/>
                  <a:pt x="70" y="19"/>
                </a:cubicBezTo>
                <a:cubicBezTo>
                  <a:pt x="70" y="19"/>
                  <a:pt x="69" y="19"/>
                  <a:pt x="68" y="19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6"/>
                  <a:pt x="29" y="36"/>
                  <a:pt x="29" y="37"/>
                </a:cubicBezTo>
                <a:cubicBezTo>
                  <a:pt x="29" y="37"/>
                  <a:pt x="28" y="37"/>
                  <a:pt x="28" y="37"/>
                </a:cubicBezTo>
                <a:cubicBezTo>
                  <a:pt x="28" y="37"/>
                  <a:pt x="28" y="38"/>
                  <a:pt x="28" y="38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73"/>
                  <a:pt x="23" y="73"/>
                  <a:pt x="23" y="73"/>
                </a:cubicBezTo>
                <a:cubicBezTo>
                  <a:pt x="22" y="74"/>
                  <a:pt x="22" y="75"/>
                  <a:pt x="23" y="76"/>
                </a:cubicBezTo>
                <a:cubicBezTo>
                  <a:pt x="24" y="77"/>
                  <a:pt x="24" y="77"/>
                  <a:pt x="25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7" y="77"/>
                  <a:pt x="38" y="77"/>
                  <a:pt x="38" y="76"/>
                </a:cubicBezTo>
                <a:cubicBezTo>
                  <a:pt x="39" y="75"/>
                  <a:pt x="39" y="74"/>
                  <a:pt x="39" y="73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43"/>
                  <a:pt x="34" y="43"/>
                  <a:pt x="34" y="43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66"/>
                  <a:pt x="45" y="66"/>
                  <a:pt x="45" y="66"/>
                </a:cubicBezTo>
                <a:cubicBezTo>
                  <a:pt x="45" y="67"/>
                  <a:pt x="45" y="68"/>
                  <a:pt x="46" y="68"/>
                </a:cubicBezTo>
                <a:cubicBezTo>
                  <a:pt x="68" y="79"/>
                  <a:pt x="68" y="79"/>
                  <a:pt x="68" y="79"/>
                </a:cubicBezTo>
                <a:cubicBezTo>
                  <a:pt x="68" y="80"/>
                  <a:pt x="69" y="80"/>
                  <a:pt x="69" y="80"/>
                </a:cubicBezTo>
                <a:cubicBezTo>
                  <a:pt x="70" y="80"/>
                  <a:pt x="70" y="80"/>
                  <a:pt x="71" y="79"/>
                </a:cubicBezTo>
                <a:cubicBezTo>
                  <a:pt x="93" y="68"/>
                  <a:pt x="93" y="68"/>
                  <a:pt x="93" y="68"/>
                </a:cubicBezTo>
                <a:cubicBezTo>
                  <a:pt x="94" y="68"/>
                  <a:pt x="94" y="67"/>
                  <a:pt x="94" y="66"/>
                </a:cubicBezTo>
                <a:cubicBezTo>
                  <a:pt x="94" y="47"/>
                  <a:pt x="94" y="47"/>
                  <a:pt x="94" y="47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110" y="41"/>
                  <a:pt x="111" y="40"/>
                  <a:pt x="111" y="38"/>
                </a:cubicBezTo>
                <a:cubicBezTo>
                  <a:pt x="111" y="37"/>
                  <a:pt x="110" y="36"/>
                  <a:pt x="109" y="36"/>
                </a:cubicBezTo>
                <a:close/>
                <a:moveTo>
                  <a:pt x="29" y="71"/>
                </a:moveTo>
                <a:cubicBezTo>
                  <a:pt x="31" y="66"/>
                  <a:pt x="31" y="66"/>
                  <a:pt x="31" y="66"/>
                </a:cubicBezTo>
                <a:cubicBezTo>
                  <a:pt x="32" y="71"/>
                  <a:pt x="32" y="71"/>
                  <a:pt x="32" y="71"/>
                </a:cubicBezTo>
                <a:lnTo>
                  <a:pt x="29" y="71"/>
                </a:lnTo>
                <a:close/>
                <a:moveTo>
                  <a:pt x="89" y="64"/>
                </a:moveTo>
                <a:cubicBezTo>
                  <a:pt x="69" y="74"/>
                  <a:pt x="69" y="74"/>
                  <a:pt x="69" y="74"/>
                </a:cubicBezTo>
                <a:cubicBezTo>
                  <a:pt x="50" y="64"/>
                  <a:pt x="50" y="64"/>
                  <a:pt x="50" y="64"/>
                </a:cubicBezTo>
                <a:cubicBezTo>
                  <a:pt x="50" y="50"/>
                  <a:pt x="50" y="50"/>
                  <a:pt x="50" y="50"/>
                </a:cubicBezTo>
                <a:cubicBezTo>
                  <a:pt x="68" y="57"/>
                  <a:pt x="68" y="57"/>
                  <a:pt x="68" y="57"/>
                </a:cubicBezTo>
                <a:cubicBezTo>
                  <a:pt x="69" y="58"/>
                  <a:pt x="69" y="58"/>
                  <a:pt x="69" y="58"/>
                </a:cubicBezTo>
                <a:cubicBezTo>
                  <a:pt x="70" y="58"/>
                  <a:pt x="70" y="58"/>
                  <a:pt x="70" y="57"/>
                </a:cubicBezTo>
                <a:cubicBezTo>
                  <a:pt x="89" y="50"/>
                  <a:pt x="89" y="50"/>
                  <a:pt x="89" y="50"/>
                </a:cubicBezTo>
                <a:lnTo>
                  <a:pt x="89" y="64"/>
                </a:lnTo>
                <a:close/>
                <a:moveTo>
                  <a:pt x="69" y="52"/>
                </a:moveTo>
                <a:cubicBezTo>
                  <a:pt x="38" y="38"/>
                  <a:pt x="38" y="38"/>
                  <a:pt x="38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101" y="38"/>
                  <a:pt x="101" y="38"/>
                  <a:pt x="101" y="38"/>
                </a:cubicBezTo>
                <a:lnTo>
                  <a:pt x="69" y="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latin typeface="+mj-lt"/>
            </a:endParaRPr>
          </a:p>
        </p:txBody>
      </p:sp>
      <p:grpSp>
        <p:nvGrpSpPr>
          <p:cNvPr id="325" name="Group 104">
            <a:extLst>
              <a:ext uri="{FF2B5EF4-FFF2-40B4-BE49-F238E27FC236}">
                <a16:creationId xmlns:a16="http://schemas.microsoft.com/office/drawing/2014/main" id="{C933286F-FB2B-2B48-B689-90FB1B740D7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07268" y="5477733"/>
            <a:ext cx="341846" cy="513972"/>
            <a:chOff x="1443" y="2997"/>
            <a:chExt cx="284" cy="427"/>
          </a:xfrm>
          <a:solidFill>
            <a:schemeClr val="accent1"/>
          </a:solidFill>
        </p:grpSpPr>
        <p:sp>
          <p:nvSpPr>
            <p:cNvPr id="326" name="Freeform 105">
              <a:extLst>
                <a:ext uri="{FF2B5EF4-FFF2-40B4-BE49-F238E27FC236}">
                  <a16:creationId xmlns:a16="http://schemas.microsoft.com/office/drawing/2014/main" id="{EBD25FD2-6E1F-C448-BE38-E904E3A2FB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3104"/>
              <a:ext cx="261" cy="320"/>
            </a:xfrm>
            <a:custGeom>
              <a:avLst/>
              <a:gdLst>
                <a:gd name="T0" fmla="*/ 155 w 176"/>
                <a:gd name="T1" fmla="*/ 216 h 216"/>
                <a:gd name="T2" fmla="*/ 59 w 176"/>
                <a:gd name="T3" fmla="*/ 216 h 216"/>
                <a:gd name="T4" fmla="*/ 54 w 176"/>
                <a:gd name="T5" fmla="*/ 213 h 216"/>
                <a:gd name="T6" fmla="*/ 6 w 176"/>
                <a:gd name="T7" fmla="*/ 141 h 216"/>
                <a:gd name="T8" fmla="*/ 4 w 176"/>
                <a:gd name="T9" fmla="*/ 116 h 216"/>
                <a:gd name="T10" fmla="*/ 17 w 176"/>
                <a:gd name="T11" fmla="*/ 108 h 216"/>
                <a:gd name="T12" fmla="*/ 59 w 176"/>
                <a:gd name="T13" fmla="*/ 137 h 216"/>
                <a:gd name="T14" fmla="*/ 59 w 176"/>
                <a:gd name="T15" fmla="*/ 24 h 216"/>
                <a:gd name="T16" fmla="*/ 83 w 176"/>
                <a:gd name="T17" fmla="*/ 0 h 216"/>
                <a:gd name="T18" fmla="*/ 107 w 176"/>
                <a:gd name="T19" fmla="*/ 24 h 216"/>
                <a:gd name="T20" fmla="*/ 107 w 176"/>
                <a:gd name="T21" fmla="*/ 92 h 216"/>
                <a:gd name="T22" fmla="*/ 156 w 176"/>
                <a:gd name="T23" fmla="*/ 108 h 216"/>
                <a:gd name="T24" fmla="*/ 173 w 176"/>
                <a:gd name="T25" fmla="*/ 145 h 216"/>
                <a:gd name="T26" fmla="*/ 161 w 176"/>
                <a:gd name="T27" fmla="*/ 211 h 216"/>
                <a:gd name="T28" fmla="*/ 155 w 176"/>
                <a:gd name="T29" fmla="*/ 216 h 216"/>
                <a:gd name="T30" fmla="*/ 62 w 176"/>
                <a:gd name="T31" fmla="*/ 204 h 216"/>
                <a:gd name="T32" fmla="*/ 150 w 176"/>
                <a:gd name="T33" fmla="*/ 204 h 216"/>
                <a:gd name="T34" fmla="*/ 161 w 176"/>
                <a:gd name="T35" fmla="*/ 143 h 216"/>
                <a:gd name="T36" fmla="*/ 152 w 176"/>
                <a:gd name="T37" fmla="*/ 120 h 216"/>
                <a:gd name="T38" fmla="*/ 99 w 176"/>
                <a:gd name="T39" fmla="*/ 102 h 216"/>
                <a:gd name="T40" fmla="*/ 95 w 176"/>
                <a:gd name="T41" fmla="*/ 96 h 216"/>
                <a:gd name="T42" fmla="*/ 95 w 176"/>
                <a:gd name="T43" fmla="*/ 24 h 216"/>
                <a:gd name="T44" fmla="*/ 83 w 176"/>
                <a:gd name="T45" fmla="*/ 12 h 216"/>
                <a:gd name="T46" fmla="*/ 71 w 176"/>
                <a:gd name="T47" fmla="*/ 24 h 216"/>
                <a:gd name="T48" fmla="*/ 71 w 176"/>
                <a:gd name="T49" fmla="*/ 156 h 216"/>
                <a:gd name="T50" fmla="*/ 67 w 176"/>
                <a:gd name="T51" fmla="*/ 162 h 216"/>
                <a:gd name="T52" fmla="*/ 60 w 176"/>
                <a:gd name="T53" fmla="*/ 159 h 216"/>
                <a:gd name="T54" fmla="*/ 17 w 176"/>
                <a:gd name="T55" fmla="*/ 120 h 216"/>
                <a:gd name="T56" fmla="*/ 14 w 176"/>
                <a:gd name="T57" fmla="*/ 121 h 216"/>
                <a:gd name="T58" fmla="*/ 16 w 176"/>
                <a:gd name="T59" fmla="*/ 135 h 216"/>
                <a:gd name="T60" fmla="*/ 62 w 176"/>
                <a:gd name="T61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6" h="216">
                  <a:moveTo>
                    <a:pt x="155" y="216"/>
                  </a:moveTo>
                  <a:cubicBezTo>
                    <a:pt x="59" y="216"/>
                    <a:pt x="59" y="216"/>
                    <a:pt x="59" y="216"/>
                  </a:cubicBezTo>
                  <a:cubicBezTo>
                    <a:pt x="57" y="216"/>
                    <a:pt x="55" y="215"/>
                    <a:pt x="54" y="213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2" y="135"/>
                    <a:pt x="0" y="124"/>
                    <a:pt x="4" y="116"/>
                  </a:cubicBezTo>
                  <a:cubicBezTo>
                    <a:pt x="6" y="111"/>
                    <a:pt x="11" y="108"/>
                    <a:pt x="17" y="108"/>
                  </a:cubicBezTo>
                  <a:cubicBezTo>
                    <a:pt x="30" y="108"/>
                    <a:pt x="42" y="113"/>
                    <a:pt x="59" y="137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1"/>
                    <a:pt x="70" y="0"/>
                    <a:pt x="83" y="0"/>
                  </a:cubicBezTo>
                  <a:cubicBezTo>
                    <a:pt x="96" y="0"/>
                    <a:pt x="107" y="11"/>
                    <a:pt x="107" y="24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72" y="113"/>
                    <a:pt x="176" y="131"/>
                    <a:pt x="173" y="145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4"/>
                    <a:pt x="158" y="216"/>
                    <a:pt x="155" y="216"/>
                  </a:cubicBezTo>
                  <a:close/>
                  <a:moveTo>
                    <a:pt x="62" y="204"/>
                  </a:moveTo>
                  <a:cubicBezTo>
                    <a:pt x="150" y="204"/>
                    <a:pt x="150" y="204"/>
                    <a:pt x="150" y="204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3" y="134"/>
                    <a:pt x="161" y="123"/>
                    <a:pt x="152" y="120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97" y="101"/>
                    <a:pt x="95" y="99"/>
                    <a:pt x="95" y="96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7"/>
                    <a:pt x="90" y="12"/>
                    <a:pt x="83" y="12"/>
                  </a:cubicBezTo>
                  <a:cubicBezTo>
                    <a:pt x="77" y="12"/>
                    <a:pt x="71" y="18"/>
                    <a:pt x="71" y="2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9"/>
                    <a:pt x="69" y="161"/>
                    <a:pt x="67" y="162"/>
                  </a:cubicBezTo>
                  <a:cubicBezTo>
                    <a:pt x="64" y="163"/>
                    <a:pt x="62" y="162"/>
                    <a:pt x="60" y="159"/>
                  </a:cubicBezTo>
                  <a:cubicBezTo>
                    <a:pt x="37" y="123"/>
                    <a:pt x="26" y="120"/>
                    <a:pt x="17" y="120"/>
                  </a:cubicBezTo>
                  <a:cubicBezTo>
                    <a:pt x="15" y="120"/>
                    <a:pt x="15" y="121"/>
                    <a:pt x="14" y="121"/>
                  </a:cubicBezTo>
                  <a:cubicBezTo>
                    <a:pt x="13" y="124"/>
                    <a:pt x="14" y="131"/>
                    <a:pt x="16" y="135"/>
                  </a:cubicBezTo>
                  <a:lnTo>
                    <a:pt x="6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7" name="Freeform 106">
              <a:extLst>
                <a:ext uri="{FF2B5EF4-FFF2-40B4-BE49-F238E27FC236}">
                  <a16:creationId xmlns:a16="http://schemas.microsoft.com/office/drawing/2014/main" id="{BD9B7B3C-0689-BA4C-ABBF-BCE7E3B46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6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8" name="Freeform 107">
              <a:extLst>
                <a:ext uri="{FF2B5EF4-FFF2-40B4-BE49-F238E27FC236}">
                  <a16:creationId xmlns:a16="http://schemas.microsoft.com/office/drawing/2014/main" id="{C9272C8E-5CB2-4643-AEA6-BE716984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3031"/>
              <a:ext cx="55" cy="55"/>
            </a:xfrm>
            <a:custGeom>
              <a:avLst/>
              <a:gdLst>
                <a:gd name="T0" fmla="*/ 6 w 37"/>
                <a:gd name="T1" fmla="*/ 37 h 37"/>
                <a:gd name="T2" fmla="*/ 2 w 37"/>
                <a:gd name="T3" fmla="*/ 35 h 37"/>
                <a:gd name="T4" fmla="*/ 2 w 37"/>
                <a:gd name="T5" fmla="*/ 27 h 37"/>
                <a:gd name="T6" fmla="*/ 26 w 37"/>
                <a:gd name="T7" fmla="*/ 3 h 37"/>
                <a:gd name="T8" fmla="*/ 34 w 37"/>
                <a:gd name="T9" fmla="*/ 3 h 37"/>
                <a:gd name="T10" fmla="*/ 34 w 37"/>
                <a:gd name="T11" fmla="*/ 11 h 37"/>
                <a:gd name="T12" fmla="*/ 10 w 37"/>
                <a:gd name="T13" fmla="*/ 35 h 37"/>
                <a:gd name="T14" fmla="*/ 6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5" y="37"/>
                    <a:pt x="3" y="36"/>
                    <a:pt x="2" y="35"/>
                  </a:cubicBezTo>
                  <a:cubicBezTo>
                    <a:pt x="0" y="33"/>
                    <a:pt x="0" y="29"/>
                    <a:pt x="2" y="27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8" y="0"/>
                    <a:pt x="32" y="0"/>
                    <a:pt x="34" y="3"/>
                  </a:cubicBezTo>
                  <a:cubicBezTo>
                    <a:pt x="37" y="5"/>
                    <a:pt x="37" y="9"/>
                    <a:pt x="34" y="11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6"/>
                    <a:pt x="8" y="37"/>
                    <a:pt x="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9" name="Freeform 108">
              <a:extLst>
                <a:ext uri="{FF2B5EF4-FFF2-40B4-BE49-F238E27FC236}">
                  <a16:creationId xmlns:a16="http://schemas.microsoft.com/office/drawing/2014/main" id="{CA4C5504-30D4-1D40-B292-CD5DA7231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" y="2997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0" name="Freeform 109">
              <a:extLst>
                <a:ext uri="{FF2B5EF4-FFF2-40B4-BE49-F238E27FC236}">
                  <a16:creationId xmlns:a16="http://schemas.microsoft.com/office/drawing/2014/main" id="{7B5112E2-4CA4-294E-BC9B-DD315AEE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031"/>
              <a:ext cx="55" cy="55"/>
            </a:xfrm>
            <a:custGeom>
              <a:avLst/>
              <a:gdLst>
                <a:gd name="T0" fmla="*/ 30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3 h 37"/>
                <a:gd name="T8" fmla="*/ 10 w 37"/>
                <a:gd name="T9" fmla="*/ 3 h 37"/>
                <a:gd name="T10" fmla="*/ 34 w 37"/>
                <a:gd name="T11" fmla="*/ 27 h 37"/>
                <a:gd name="T12" fmla="*/ 34 w 37"/>
                <a:gd name="T13" fmla="*/ 35 h 37"/>
                <a:gd name="T14" fmla="*/ 30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0" y="37"/>
                  </a:moveTo>
                  <a:cubicBezTo>
                    <a:pt x="29" y="37"/>
                    <a:pt x="27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7" y="29"/>
                    <a:pt x="37" y="33"/>
                    <a:pt x="34" y="35"/>
                  </a:cubicBezTo>
                  <a:cubicBezTo>
                    <a:pt x="33" y="36"/>
                    <a:pt x="32" y="37"/>
                    <a:pt x="3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1" name="Freeform 110">
              <a:extLst>
                <a:ext uri="{FF2B5EF4-FFF2-40B4-BE49-F238E27FC236}">
                  <a16:creationId xmlns:a16="http://schemas.microsoft.com/office/drawing/2014/main" id="{B8173CE6-5D1A-A846-84AC-EC2E79F05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32" name="Group 48">
            <a:extLst>
              <a:ext uri="{FF2B5EF4-FFF2-40B4-BE49-F238E27FC236}">
                <a16:creationId xmlns:a16="http://schemas.microsoft.com/office/drawing/2014/main" id="{845CA248-13D3-B844-9F40-7BA5E1132E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1132" y="3109340"/>
            <a:ext cx="515826" cy="496764"/>
            <a:chOff x="6532" y="451"/>
            <a:chExt cx="433" cy="417"/>
          </a:xfrm>
          <a:solidFill>
            <a:schemeClr val="accent1"/>
          </a:solidFill>
        </p:grpSpPr>
        <p:sp>
          <p:nvSpPr>
            <p:cNvPr id="333" name="Freeform 49">
              <a:extLst>
                <a:ext uri="{FF2B5EF4-FFF2-40B4-BE49-F238E27FC236}">
                  <a16:creationId xmlns:a16="http://schemas.microsoft.com/office/drawing/2014/main" id="{17E6D66F-E2A5-7445-867C-00B311AB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" y="621"/>
              <a:ext cx="128" cy="94"/>
            </a:xfrm>
            <a:custGeom>
              <a:avLst/>
              <a:gdLst>
                <a:gd name="T0" fmla="*/ 7 w 86"/>
                <a:gd name="T1" fmla="*/ 64 h 64"/>
                <a:gd name="T2" fmla="*/ 3 w 86"/>
                <a:gd name="T3" fmla="*/ 63 h 64"/>
                <a:gd name="T4" fmla="*/ 1 w 86"/>
                <a:gd name="T5" fmla="*/ 55 h 64"/>
                <a:gd name="T6" fmla="*/ 34 w 86"/>
                <a:gd name="T7" fmla="*/ 3 h 64"/>
                <a:gd name="T8" fmla="*/ 38 w 86"/>
                <a:gd name="T9" fmla="*/ 0 h 64"/>
                <a:gd name="T10" fmla="*/ 43 w 86"/>
                <a:gd name="T11" fmla="*/ 2 h 64"/>
                <a:gd name="T12" fmla="*/ 84 w 86"/>
                <a:gd name="T13" fmla="*/ 48 h 64"/>
                <a:gd name="T14" fmla="*/ 84 w 86"/>
                <a:gd name="T15" fmla="*/ 56 h 64"/>
                <a:gd name="T16" fmla="*/ 75 w 86"/>
                <a:gd name="T17" fmla="*/ 56 h 64"/>
                <a:gd name="T18" fmla="*/ 40 w 86"/>
                <a:gd name="T19" fmla="*/ 16 h 64"/>
                <a:gd name="T20" fmla="*/ 12 w 86"/>
                <a:gd name="T21" fmla="*/ 61 h 64"/>
                <a:gd name="T22" fmla="*/ 7 w 86"/>
                <a:gd name="T2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2"/>
                    <a:pt x="0" y="58"/>
                    <a:pt x="1" y="55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1"/>
                    <a:pt x="36" y="0"/>
                    <a:pt x="38" y="0"/>
                  </a:cubicBezTo>
                  <a:cubicBezTo>
                    <a:pt x="40" y="0"/>
                    <a:pt x="42" y="1"/>
                    <a:pt x="43" y="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6" y="50"/>
                    <a:pt x="86" y="54"/>
                    <a:pt x="84" y="56"/>
                  </a:cubicBezTo>
                  <a:cubicBezTo>
                    <a:pt x="81" y="58"/>
                    <a:pt x="78" y="58"/>
                    <a:pt x="75" y="5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4" name="Freeform 50">
              <a:extLst>
                <a:ext uri="{FF2B5EF4-FFF2-40B4-BE49-F238E27FC236}">
                  <a16:creationId xmlns:a16="http://schemas.microsoft.com/office/drawing/2014/main" id="{A947C942-EA82-4B48-9330-14A742F7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" y="621"/>
              <a:ext cx="157" cy="233"/>
            </a:xfrm>
            <a:custGeom>
              <a:avLst/>
              <a:gdLst>
                <a:gd name="T0" fmla="*/ 7 w 106"/>
                <a:gd name="T1" fmla="*/ 158 h 158"/>
                <a:gd name="T2" fmla="*/ 1 w 106"/>
                <a:gd name="T3" fmla="*/ 154 h 158"/>
                <a:gd name="T4" fmla="*/ 5 w 106"/>
                <a:gd name="T5" fmla="*/ 147 h 158"/>
                <a:gd name="T6" fmla="*/ 74 w 106"/>
                <a:gd name="T7" fmla="*/ 94 h 158"/>
                <a:gd name="T8" fmla="*/ 86 w 106"/>
                <a:gd name="T9" fmla="*/ 8 h 158"/>
                <a:gd name="T10" fmla="*/ 90 w 106"/>
                <a:gd name="T11" fmla="*/ 1 h 158"/>
                <a:gd name="T12" fmla="*/ 97 w 106"/>
                <a:gd name="T13" fmla="*/ 5 h 158"/>
                <a:gd name="T14" fmla="*/ 84 w 106"/>
                <a:gd name="T15" fmla="*/ 100 h 158"/>
                <a:gd name="T16" fmla="*/ 8 w 106"/>
                <a:gd name="T17" fmla="*/ 158 h 158"/>
                <a:gd name="T18" fmla="*/ 7 w 106"/>
                <a:gd name="T1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58">
                  <a:moveTo>
                    <a:pt x="7" y="158"/>
                  </a:moveTo>
                  <a:cubicBezTo>
                    <a:pt x="4" y="158"/>
                    <a:pt x="2" y="157"/>
                    <a:pt x="1" y="154"/>
                  </a:cubicBezTo>
                  <a:cubicBezTo>
                    <a:pt x="0" y="151"/>
                    <a:pt x="2" y="147"/>
                    <a:pt x="5" y="147"/>
                  </a:cubicBezTo>
                  <a:cubicBezTo>
                    <a:pt x="34" y="139"/>
                    <a:pt x="59" y="121"/>
                    <a:pt x="74" y="94"/>
                  </a:cubicBezTo>
                  <a:cubicBezTo>
                    <a:pt x="89" y="68"/>
                    <a:pt x="93" y="38"/>
                    <a:pt x="86" y="8"/>
                  </a:cubicBezTo>
                  <a:cubicBezTo>
                    <a:pt x="85" y="5"/>
                    <a:pt x="87" y="2"/>
                    <a:pt x="90" y="1"/>
                  </a:cubicBezTo>
                  <a:cubicBezTo>
                    <a:pt x="93" y="0"/>
                    <a:pt x="97" y="2"/>
                    <a:pt x="97" y="5"/>
                  </a:cubicBezTo>
                  <a:cubicBezTo>
                    <a:pt x="106" y="38"/>
                    <a:pt x="101" y="71"/>
                    <a:pt x="84" y="100"/>
                  </a:cubicBezTo>
                  <a:cubicBezTo>
                    <a:pt x="67" y="129"/>
                    <a:pt x="40" y="150"/>
                    <a:pt x="8" y="158"/>
                  </a:cubicBezTo>
                  <a:cubicBezTo>
                    <a:pt x="8" y="158"/>
                    <a:pt x="7" y="158"/>
                    <a:pt x="7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5" name="Freeform 51">
              <a:extLst>
                <a:ext uri="{FF2B5EF4-FFF2-40B4-BE49-F238E27FC236}">
                  <a16:creationId xmlns:a16="http://schemas.microsoft.com/office/drawing/2014/main" id="{F6FECDDB-A3E0-AB42-AE11-B42BD5D93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51"/>
              <a:ext cx="110" cy="112"/>
            </a:xfrm>
            <a:custGeom>
              <a:avLst/>
              <a:gdLst>
                <a:gd name="T0" fmla="*/ 68 w 74"/>
                <a:gd name="T1" fmla="*/ 76 h 76"/>
                <a:gd name="T2" fmla="*/ 67 w 74"/>
                <a:gd name="T3" fmla="*/ 76 h 76"/>
                <a:gd name="T4" fmla="*/ 6 w 74"/>
                <a:gd name="T5" fmla="*/ 70 h 76"/>
                <a:gd name="T6" fmla="*/ 1 w 74"/>
                <a:gd name="T7" fmla="*/ 67 h 76"/>
                <a:gd name="T8" fmla="*/ 1 w 74"/>
                <a:gd name="T9" fmla="*/ 61 h 76"/>
                <a:gd name="T10" fmla="*/ 24 w 74"/>
                <a:gd name="T11" fmla="*/ 5 h 76"/>
                <a:gd name="T12" fmla="*/ 32 w 74"/>
                <a:gd name="T13" fmla="*/ 1 h 76"/>
                <a:gd name="T14" fmla="*/ 35 w 74"/>
                <a:gd name="T15" fmla="*/ 9 h 76"/>
                <a:gd name="T16" fmla="*/ 15 w 74"/>
                <a:gd name="T17" fmla="*/ 58 h 76"/>
                <a:gd name="T18" fmla="*/ 68 w 74"/>
                <a:gd name="T19" fmla="*/ 64 h 76"/>
                <a:gd name="T20" fmla="*/ 74 w 74"/>
                <a:gd name="T21" fmla="*/ 70 h 76"/>
                <a:gd name="T22" fmla="*/ 68 w 74"/>
                <a:gd name="T2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6">
                  <a:moveTo>
                    <a:pt x="68" y="76"/>
                  </a:moveTo>
                  <a:cubicBezTo>
                    <a:pt x="67" y="76"/>
                    <a:pt x="67" y="76"/>
                    <a:pt x="67" y="76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4" y="69"/>
                    <a:pt x="2" y="68"/>
                    <a:pt x="1" y="67"/>
                  </a:cubicBezTo>
                  <a:cubicBezTo>
                    <a:pt x="1" y="65"/>
                    <a:pt x="0" y="63"/>
                    <a:pt x="1" y="61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2"/>
                    <a:pt x="36" y="6"/>
                    <a:pt x="35" y="9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1" y="64"/>
                    <a:pt x="74" y="67"/>
                    <a:pt x="74" y="70"/>
                  </a:cubicBezTo>
                  <a:cubicBezTo>
                    <a:pt x="73" y="73"/>
                    <a:pt x="71" y="76"/>
                    <a:pt x="68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6" name="Freeform 52">
              <a:extLst>
                <a:ext uri="{FF2B5EF4-FFF2-40B4-BE49-F238E27FC236}">
                  <a16:creationId xmlns:a16="http://schemas.microsoft.com/office/drawing/2014/main" id="{368296E1-91C7-0142-92A5-9FC30718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91"/>
              <a:ext cx="269" cy="81"/>
            </a:xfrm>
            <a:custGeom>
              <a:avLst/>
              <a:gdLst>
                <a:gd name="T0" fmla="*/ 175 w 182"/>
                <a:gd name="T1" fmla="*/ 55 h 55"/>
                <a:gd name="T2" fmla="*/ 171 w 182"/>
                <a:gd name="T3" fmla="*/ 53 h 55"/>
                <a:gd name="T4" fmla="*/ 94 w 182"/>
                <a:gd name="T5" fmla="*/ 14 h 55"/>
                <a:gd name="T6" fmla="*/ 11 w 182"/>
                <a:gd name="T7" fmla="*/ 41 h 55"/>
                <a:gd name="T8" fmla="*/ 2 w 182"/>
                <a:gd name="T9" fmla="*/ 40 h 55"/>
                <a:gd name="T10" fmla="*/ 3 w 182"/>
                <a:gd name="T11" fmla="*/ 32 h 55"/>
                <a:gd name="T12" fmla="*/ 94 w 182"/>
                <a:gd name="T13" fmla="*/ 2 h 55"/>
                <a:gd name="T14" fmla="*/ 180 w 182"/>
                <a:gd name="T15" fmla="*/ 45 h 55"/>
                <a:gd name="T16" fmla="*/ 179 w 182"/>
                <a:gd name="T17" fmla="*/ 53 h 55"/>
                <a:gd name="T18" fmla="*/ 175 w 182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55">
                  <a:moveTo>
                    <a:pt x="175" y="55"/>
                  </a:moveTo>
                  <a:cubicBezTo>
                    <a:pt x="174" y="55"/>
                    <a:pt x="172" y="54"/>
                    <a:pt x="171" y="53"/>
                  </a:cubicBezTo>
                  <a:cubicBezTo>
                    <a:pt x="151" y="30"/>
                    <a:pt x="124" y="16"/>
                    <a:pt x="94" y="14"/>
                  </a:cubicBezTo>
                  <a:cubicBezTo>
                    <a:pt x="63" y="12"/>
                    <a:pt x="34" y="21"/>
                    <a:pt x="11" y="41"/>
                  </a:cubicBezTo>
                  <a:cubicBezTo>
                    <a:pt x="8" y="43"/>
                    <a:pt x="4" y="43"/>
                    <a:pt x="2" y="40"/>
                  </a:cubicBezTo>
                  <a:cubicBezTo>
                    <a:pt x="0" y="38"/>
                    <a:pt x="0" y="34"/>
                    <a:pt x="3" y="32"/>
                  </a:cubicBezTo>
                  <a:cubicBezTo>
                    <a:pt x="28" y="10"/>
                    <a:pt x="61" y="0"/>
                    <a:pt x="94" y="2"/>
                  </a:cubicBezTo>
                  <a:cubicBezTo>
                    <a:pt x="128" y="4"/>
                    <a:pt x="159" y="20"/>
                    <a:pt x="180" y="45"/>
                  </a:cubicBezTo>
                  <a:cubicBezTo>
                    <a:pt x="182" y="47"/>
                    <a:pt x="182" y="51"/>
                    <a:pt x="179" y="53"/>
                  </a:cubicBezTo>
                  <a:cubicBezTo>
                    <a:pt x="178" y="54"/>
                    <a:pt x="177" y="55"/>
                    <a:pt x="175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7" name="Freeform 53">
              <a:extLst>
                <a:ext uri="{FF2B5EF4-FFF2-40B4-BE49-F238E27FC236}">
                  <a16:creationId xmlns:a16="http://schemas.microsoft.com/office/drawing/2014/main" id="{58A5879A-4845-1A4E-AD7C-5245A797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" y="754"/>
              <a:ext cx="108" cy="114"/>
            </a:xfrm>
            <a:custGeom>
              <a:avLst/>
              <a:gdLst>
                <a:gd name="T0" fmla="*/ 7 w 73"/>
                <a:gd name="T1" fmla="*/ 77 h 77"/>
                <a:gd name="T2" fmla="*/ 1 w 73"/>
                <a:gd name="T3" fmla="*/ 72 h 77"/>
                <a:gd name="T4" fmla="*/ 6 w 73"/>
                <a:gd name="T5" fmla="*/ 65 h 77"/>
                <a:gd name="T6" fmla="*/ 58 w 73"/>
                <a:gd name="T7" fmla="*/ 57 h 77"/>
                <a:gd name="T8" fmla="*/ 36 w 73"/>
                <a:gd name="T9" fmla="*/ 9 h 77"/>
                <a:gd name="T10" fmla="*/ 39 w 73"/>
                <a:gd name="T11" fmla="*/ 1 h 77"/>
                <a:gd name="T12" fmla="*/ 47 w 73"/>
                <a:gd name="T13" fmla="*/ 4 h 77"/>
                <a:gd name="T14" fmla="*/ 73 w 73"/>
                <a:gd name="T15" fmla="*/ 60 h 77"/>
                <a:gd name="T16" fmla="*/ 73 w 73"/>
                <a:gd name="T17" fmla="*/ 65 h 77"/>
                <a:gd name="T18" fmla="*/ 68 w 73"/>
                <a:gd name="T19" fmla="*/ 68 h 77"/>
                <a:gd name="T20" fmla="*/ 7 w 73"/>
                <a:gd name="T21" fmla="*/ 77 h 77"/>
                <a:gd name="T22" fmla="*/ 7 w 73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7">
                  <a:moveTo>
                    <a:pt x="7" y="77"/>
                  </a:moveTo>
                  <a:cubicBezTo>
                    <a:pt x="4" y="77"/>
                    <a:pt x="1" y="75"/>
                    <a:pt x="1" y="72"/>
                  </a:cubicBezTo>
                  <a:cubicBezTo>
                    <a:pt x="0" y="69"/>
                    <a:pt x="2" y="66"/>
                    <a:pt x="6" y="65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6"/>
                    <a:pt x="36" y="2"/>
                    <a:pt x="39" y="1"/>
                  </a:cubicBezTo>
                  <a:cubicBezTo>
                    <a:pt x="42" y="0"/>
                    <a:pt x="46" y="1"/>
                    <a:pt x="47" y="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1"/>
                    <a:pt x="73" y="63"/>
                    <a:pt x="73" y="65"/>
                  </a:cubicBezTo>
                  <a:cubicBezTo>
                    <a:pt x="72" y="67"/>
                    <a:pt x="70" y="68"/>
                    <a:pt x="68" y="68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8" name="Freeform 54">
              <a:extLst>
                <a:ext uri="{FF2B5EF4-FFF2-40B4-BE49-F238E27FC236}">
                  <a16:creationId xmlns:a16="http://schemas.microsoft.com/office/drawing/2014/main" id="{B1F284B8-040C-EA40-B415-8A9522FE8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612"/>
              <a:ext cx="144" cy="242"/>
            </a:xfrm>
            <a:custGeom>
              <a:avLst/>
              <a:gdLst>
                <a:gd name="T0" fmla="*/ 90 w 97"/>
                <a:gd name="T1" fmla="*/ 164 h 164"/>
                <a:gd name="T2" fmla="*/ 88 w 97"/>
                <a:gd name="T3" fmla="*/ 163 h 164"/>
                <a:gd name="T4" fmla="*/ 17 w 97"/>
                <a:gd name="T5" fmla="*/ 100 h 164"/>
                <a:gd name="T6" fmla="*/ 11 w 97"/>
                <a:gd name="T7" fmla="*/ 4 h 164"/>
                <a:gd name="T8" fmla="*/ 19 w 97"/>
                <a:gd name="T9" fmla="*/ 1 h 164"/>
                <a:gd name="T10" fmla="*/ 22 w 97"/>
                <a:gd name="T11" fmla="*/ 8 h 164"/>
                <a:gd name="T12" fmla="*/ 27 w 97"/>
                <a:gd name="T13" fmla="*/ 94 h 164"/>
                <a:gd name="T14" fmla="*/ 92 w 97"/>
                <a:gd name="T15" fmla="*/ 152 h 164"/>
                <a:gd name="T16" fmla="*/ 96 w 97"/>
                <a:gd name="T17" fmla="*/ 160 h 164"/>
                <a:gd name="T18" fmla="*/ 90 w 97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64">
                  <a:moveTo>
                    <a:pt x="90" y="164"/>
                  </a:moveTo>
                  <a:cubicBezTo>
                    <a:pt x="90" y="164"/>
                    <a:pt x="89" y="164"/>
                    <a:pt x="88" y="163"/>
                  </a:cubicBezTo>
                  <a:cubicBezTo>
                    <a:pt x="57" y="152"/>
                    <a:pt x="31" y="130"/>
                    <a:pt x="17" y="100"/>
                  </a:cubicBezTo>
                  <a:cubicBezTo>
                    <a:pt x="2" y="70"/>
                    <a:pt x="0" y="36"/>
                    <a:pt x="11" y="4"/>
                  </a:cubicBezTo>
                  <a:cubicBezTo>
                    <a:pt x="12" y="1"/>
                    <a:pt x="16" y="0"/>
                    <a:pt x="19" y="1"/>
                  </a:cubicBezTo>
                  <a:cubicBezTo>
                    <a:pt x="22" y="2"/>
                    <a:pt x="23" y="5"/>
                    <a:pt x="22" y="8"/>
                  </a:cubicBezTo>
                  <a:cubicBezTo>
                    <a:pt x="12" y="37"/>
                    <a:pt x="14" y="67"/>
                    <a:pt x="27" y="94"/>
                  </a:cubicBezTo>
                  <a:cubicBezTo>
                    <a:pt x="41" y="121"/>
                    <a:pt x="64" y="142"/>
                    <a:pt x="92" y="152"/>
                  </a:cubicBezTo>
                  <a:cubicBezTo>
                    <a:pt x="96" y="153"/>
                    <a:pt x="97" y="157"/>
                    <a:pt x="96" y="160"/>
                  </a:cubicBezTo>
                  <a:cubicBezTo>
                    <a:pt x="95" y="162"/>
                    <a:pt x="93" y="164"/>
                    <a:pt x="9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39" name="Group 81">
            <a:extLst>
              <a:ext uri="{FF2B5EF4-FFF2-40B4-BE49-F238E27FC236}">
                <a16:creationId xmlns:a16="http://schemas.microsoft.com/office/drawing/2014/main" id="{6F0CCB4D-675F-F14F-99D5-2DD46749B8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8612" y="5509828"/>
            <a:ext cx="450851" cy="449782"/>
            <a:chOff x="1370" y="1720"/>
            <a:chExt cx="426" cy="425"/>
          </a:xfrm>
          <a:solidFill>
            <a:schemeClr val="accent1"/>
          </a:solidFill>
        </p:grpSpPr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AFD37094-822A-F447-8CE7-9F103F96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755"/>
              <a:ext cx="426" cy="390"/>
            </a:xfrm>
            <a:custGeom>
              <a:avLst/>
              <a:gdLst>
                <a:gd name="T0" fmla="*/ 282 w 288"/>
                <a:gd name="T1" fmla="*/ 264 h 264"/>
                <a:gd name="T2" fmla="*/ 6 w 288"/>
                <a:gd name="T3" fmla="*/ 264 h 264"/>
                <a:gd name="T4" fmla="*/ 0 w 288"/>
                <a:gd name="T5" fmla="*/ 258 h 264"/>
                <a:gd name="T6" fmla="*/ 0 w 288"/>
                <a:gd name="T7" fmla="*/ 6 h 264"/>
                <a:gd name="T8" fmla="*/ 6 w 288"/>
                <a:gd name="T9" fmla="*/ 0 h 264"/>
                <a:gd name="T10" fmla="*/ 54 w 288"/>
                <a:gd name="T11" fmla="*/ 0 h 264"/>
                <a:gd name="T12" fmla="*/ 60 w 288"/>
                <a:gd name="T13" fmla="*/ 6 h 264"/>
                <a:gd name="T14" fmla="*/ 54 w 288"/>
                <a:gd name="T15" fmla="*/ 12 h 264"/>
                <a:gd name="T16" fmla="*/ 12 w 288"/>
                <a:gd name="T17" fmla="*/ 12 h 264"/>
                <a:gd name="T18" fmla="*/ 12 w 288"/>
                <a:gd name="T19" fmla="*/ 252 h 264"/>
                <a:gd name="T20" fmla="*/ 276 w 288"/>
                <a:gd name="T21" fmla="*/ 252 h 264"/>
                <a:gd name="T22" fmla="*/ 276 w 288"/>
                <a:gd name="T23" fmla="*/ 12 h 264"/>
                <a:gd name="T24" fmla="*/ 234 w 288"/>
                <a:gd name="T25" fmla="*/ 12 h 264"/>
                <a:gd name="T26" fmla="*/ 228 w 288"/>
                <a:gd name="T27" fmla="*/ 6 h 264"/>
                <a:gd name="T28" fmla="*/ 234 w 288"/>
                <a:gd name="T29" fmla="*/ 0 h 264"/>
                <a:gd name="T30" fmla="*/ 282 w 288"/>
                <a:gd name="T31" fmla="*/ 0 h 264"/>
                <a:gd name="T32" fmla="*/ 288 w 288"/>
                <a:gd name="T33" fmla="*/ 6 h 264"/>
                <a:gd name="T34" fmla="*/ 288 w 288"/>
                <a:gd name="T35" fmla="*/ 258 h 264"/>
                <a:gd name="T36" fmla="*/ 282 w 288"/>
                <a:gd name="T3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64">
                  <a:moveTo>
                    <a:pt x="28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76" y="252"/>
                    <a:pt x="276" y="252"/>
                    <a:pt x="276" y="25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34" y="12"/>
                    <a:pt x="234" y="12"/>
                    <a:pt x="234" y="12"/>
                  </a:cubicBezTo>
                  <a:cubicBezTo>
                    <a:pt x="231" y="12"/>
                    <a:pt x="228" y="9"/>
                    <a:pt x="228" y="6"/>
                  </a:cubicBezTo>
                  <a:cubicBezTo>
                    <a:pt x="228" y="2"/>
                    <a:pt x="231" y="0"/>
                    <a:pt x="234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61"/>
                    <a:pt x="286" y="264"/>
                    <a:pt x="282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3422F472-FD2E-E146-B0EE-B299A1CAE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A5C0B545-2E7A-5941-9C66-99945E379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374CD6E2-C0BA-8E40-A449-820C4406F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5" y="1755"/>
              <a:ext cx="177" cy="18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2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5650B1E9-10A3-734D-9AC1-8B333A356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844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4B7887F8-0B63-E948-966D-617614E80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ABE6E62F-E613-A74D-B3A8-299734AD8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695E4311-FAD6-9945-AF11-C24EB5180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F6332ED2-95E6-314D-B133-3718ED39B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15"/>
              <a:ext cx="355" cy="18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6A20710A-A127-3045-90AC-4BEF3E718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86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D7659633-77CA-5343-AA5A-F95F8866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2057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51" name="Freeform 144">
            <a:extLst>
              <a:ext uri="{FF2B5EF4-FFF2-40B4-BE49-F238E27FC236}">
                <a16:creationId xmlns:a16="http://schemas.microsoft.com/office/drawing/2014/main" id="{887C956D-5C6A-EF41-B68E-293B826857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2171887" y="1915146"/>
            <a:ext cx="274440" cy="529622"/>
          </a:xfrm>
          <a:custGeom>
            <a:avLst/>
            <a:gdLst>
              <a:gd name="T0" fmla="*/ 116 w 154"/>
              <a:gd name="T1" fmla="*/ 167 h 297"/>
              <a:gd name="T2" fmla="*/ 83 w 154"/>
              <a:gd name="T3" fmla="*/ 119 h 297"/>
              <a:gd name="T4" fmla="*/ 83 w 154"/>
              <a:gd name="T5" fmla="*/ 18 h 297"/>
              <a:gd name="T6" fmla="*/ 83 w 154"/>
              <a:gd name="T7" fmla="*/ 17 h 297"/>
              <a:gd name="T8" fmla="*/ 83 w 154"/>
              <a:gd name="T9" fmla="*/ 17 h 297"/>
              <a:gd name="T10" fmla="*/ 109 w 154"/>
              <a:gd name="T11" fmla="*/ 34 h 297"/>
              <a:gd name="T12" fmla="*/ 118 w 154"/>
              <a:gd name="T13" fmla="*/ 33 h 297"/>
              <a:gd name="T14" fmla="*/ 119 w 154"/>
              <a:gd name="T15" fmla="*/ 30 h 297"/>
              <a:gd name="T16" fmla="*/ 116 w 154"/>
              <a:gd name="T17" fmla="*/ 25 h 297"/>
              <a:gd name="T18" fmla="*/ 80 w 154"/>
              <a:gd name="T19" fmla="*/ 1 h 297"/>
              <a:gd name="T20" fmla="*/ 80 w 154"/>
              <a:gd name="T21" fmla="*/ 1 h 297"/>
              <a:gd name="T22" fmla="*/ 80 w 154"/>
              <a:gd name="T23" fmla="*/ 1 h 297"/>
              <a:gd name="T24" fmla="*/ 80 w 154"/>
              <a:gd name="T25" fmla="*/ 1 h 297"/>
              <a:gd name="T26" fmla="*/ 79 w 154"/>
              <a:gd name="T27" fmla="*/ 0 h 297"/>
              <a:gd name="T28" fmla="*/ 79 w 154"/>
              <a:gd name="T29" fmla="*/ 0 h 297"/>
              <a:gd name="T30" fmla="*/ 77 w 154"/>
              <a:gd name="T31" fmla="*/ 0 h 297"/>
              <a:gd name="T32" fmla="*/ 77 w 154"/>
              <a:gd name="T33" fmla="*/ 0 h 297"/>
              <a:gd name="T34" fmla="*/ 76 w 154"/>
              <a:gd name="T35" fmla="*/ 0 h 297"/>
              <a:gd name="T36" fmla="*/ 75 w 154"/>
              <a:gd name="T37" fmla="*/ 0 h 297"/>
              <a:gd name="T38" fmla="*/ 74 w 154"/>
              <a:gd name="T39" fmla="*/ 1 h 297"/>
              <a:gd name="T40" fmla="*/ 74 w 154"/>
              <a:gd name="T41" fmla="*/ 1 h 297"/>
              <a:gd name="T42" fmla="*/ 74 w 154"/>
              <a:gd name="T43" fmla="*/ 1 h 297"/>
              <a:gd name="T44" fmla="*/ 74 w 154"/>
              <a:gd name="T45" fmla="*/ 1 h 297"/>
              <a:gd name="T46" fmla="*/ 38 w 154"/>
              <a:gd name="T47" fmla="*/ 25 h 297"/>
              <a:gd name="T48" fmla="*/ 37 w 154"/>
              <a:gd name="T49" fmla="*/ 33 h 297"/>
              <a:gd name="T50" fmla="*/ 45 w 154"/>
              <a:gd name="T51" fmla="*/ 34 h 297"/>
              <a:gd name="T52" fmla="*/ 71 w 154"/>
              <a:gd name="T53" fmla="*/ 17 h 297"/>
              <a:gd name="T54" fmla="*/ 71 w 154"/>
              <a:gd name="T55" fmla="*/ 17 h 297"/>
              <a:gd name="T56" fmla="*/ 71 w 154"/>
              <a:gd name="T57" fmla="*/ 18 h 297"/>
              <a:gd name="T58" fmla="*/ 71 w 154"/>
              <a:gd name="T59" fmla="*/ 119 h 297"/>
              <a:gd name="T60" fmla="*/ 38 w 154"/>
              <a:gd name="T61" fmla="*/ 167 h 297"/>
              <a:gd name="T62" fmla="*/ 0 w 154"/>
              <a:gd name="T63" fmla="*/ 226 h 297"/>
              <a:gd name="T64" fmla="*/ 0 w 154"/>
              <a:gd name="T65" fmla="*/ 255 h 297"/>
              <a:gd name="T66" fmla="*/ 0 w 154"/>
              <a:gd name="T67" fmla="*/ 280 h 297"/>
              <a:gd name="T68" fmla="*/ 0 w 154"/>
              <a:gd name="T69" fmla="*/ 291 h 297"/>
              <a:gd name="T70" fmla="*/ 6 w 154"/>
              <a:gd name="T71" fmla="*/ 297 h 297"/>
              <a:gd name="T72" fmla="*/ 12 w 154"/>
              <a:gd name="T73" fmla="*/ 291 h 297"/>
              <a:gd name="T74" fmla="*/ 12 w 154"/>
              <a:gd name="T75" fmla="*/ 280 h 297"/>
              <a:gd name="T76" fmla="*/ 12 w 154"/>
              <a:gd name="T77" fmla="*/ 280 h 297"/>
              <a:gd name="T78" fmla="*/ 12 w 154"/>
              <a:gd name="T79" fmla="*/ 226 h 297"/>
              <a:gd name="T80" fmla="*/ 45 w 154"/>
              <a:gd name="T81" fmla="*/ 177 h 297"/>
              <a:gd name="T82" fmla="*/ 77 w 154"/>
              <a:gd name="T83" fmla="*/ 146 h 297"/>
              <a:gd name="T84" fmla="*/ 109 w 154"/>
              <a:gd name="T85" fmla="*/ 177 h 297"/>
              <a:gd name="T86" fmla="*/ 142 w 154"/>
              <a:gd name="T87" fmla="*/ 226 h 297"/>
              <a:gd name="T88" fmla="*/ 142 w 154"/>
              <a:gd name="T89" fmla="*/ 280 h 297"/>
              <a:gd name="T90" fmla="*/ 142 w 154"/>
              <a:gd name="T91" fmla="*/ 280 h 297"/>
              <a:gd name="T92" fmla="*/ 142 w 154"/>
              <a:gd name="T93" fmla="*/ 291 h 297"/>
              <a:gd name="T94" fmla="*/ 148 w 154"/>
              <a:gd name="T95" fmla="*/ 297 h 297"/>
              <a:gd name="T96" fmla="*/ 154 w 154"/>
              <a:gd name="T97" fmla="*/ 291 h 297"/>
              <a:gd name="T98" fmla="*/ 154 w 154"/>
              <a:gd name="T99" fmla="*/ 280 h 297"/>
              <a:gd name="T100" fmla="*/ 154 w 154"/>
              <a:gd name="T101" fmla="*/ 255 h 297"/>
              <a:gd name="T102" fmla="*/ 154 w 154"/>
              <a:gd name="T103" fmla="*/ 226 h 297"/>
              <a:gd name="T104" fmla="*/ 116 w 154"/>
              <a:gd name="T105" fmla="*/ 167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297">
                <a:moveTo>
                  <a:pt x="116" y="167"/>
                </a:moveTo>
                <a:cubicBezTo>
                  <a:pt x="98" y="156"/>
                  <a:pt x="83" y="146"/>
                  <a:pt x="83" y="1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3" y="18"/>
                  <a:pt x="83" y="17"/>
                  <a:pt x="83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12" y="36"/>
                  <a:pt x="116" y="36"/>
                  <a:pt x="118" y="33"/>
                </a:cubicBezTo>
                <a:cubicBezTo>
                  <a:pt x="118" y="32"/>
                  <a:pt x="119" y="31"/>
                  <a:pt x="119" y="30"/>
                </a:cubicBezTo>
                <a:cubicBezTo>
                  <a:pt x="119" y="28"/>
                  <a:pt x="118" y="26"/>
                  <a:pt x="116" y="25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79" y="0"/>
                  <a:pt x="79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8" y="0"/>
                  <a:pt x="78" y="0"/>
                  <a:pt x="7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38" y="25"/>
                  <a:pt x="38" y="25"/>
                  <a:pt x="38" y="25"/>
                </a:cubicBezTo>
                <a:cubicBezTo>
                  <a:pt x="35" y="26"/>
                  <a:pt x="35" y="30"/>
                  <a:pt x="37" y="33"/>
                </a:cubicBezTo>
                <a:cubicBezTo>
                  <a:pt x="38" y="36"/>
                  <a:pt x="42" y="36"/>
                  <a:pt x="45" y="34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8"/>
                  <a:pt x="71" y="18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71" y="146"/>
                  <a:pt x="56" y="156"/>
                  <a:pt x="38" y="167"/>
                </a:cubicBezTo>
                <a:cubicBezTo>
                  <a:pt x="20" y="179"/>
                  <a:pt x="0" y="193"/>
                  <a:pt x="0" y="226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4"/>
                  <a:pt x="3" y="297"/>
                  <a:pt x="6" y="297"/>
                </a:cubicBezTo>
                <a:cubicBezTo>
                  <a:pt x="9" y="297"/>
                  <a:pt x="12" y="294"/>
                  <a:pt x="12" y="291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26"/>
                  <a:pt x="12" y="226"/>
                  <a:pt x="12" y="226"/>
                </a:cubicBezTo>
                <a:cubicBezTo>
                  <a:pt x="12" y="199"/>
                  <a:pt x="27" y="189"/>
                  <a:pt x="45" y="177"/>
                </a:cubicBezTo>
                <a:cubicBezTo>
                  <a:pt x="57" y="169"/>
                  <a:pt x="70" y="161"/>
                  <a:pt x="77" y="146"/>
                </a:cubicBezTo>
                <a:cubicBezTo>
                  <a:pt x="84" y="161"/>
                  <a:pt x="97" y="169"/>
                  <a:pt x="109" y="177"/>
                </a:cubicBezTo>
                <a:cubicBezTo>
                  <a:pt x="127" y="189"/>
                  <a:pt x="142" y="199"/>
                  <a:pt x="142" y="226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91"/>
                  <a:pt x="142" y="291"/>
                  <a:pt x="142" y="291"/>
                </a:cubicBezTo>
                <a:cubicBezTo>
                  <a:pt x="142" y="294"/>
                  <a:pt x="145" y="297"/>
                  <a:pt x="148" y="297"/>
                </a:cubicBezTo>
                <a:cubicBezTo>
                  <a:pt x="152" y="297"/>
                  <a:pt x="154" y="294"/>
                  <a:pt x="154" y="291"/>
                </a:cubicBezTo>
                <a:cubicBezTo>
                  <a:pt x="154" y="280"/>
                  <a:pt x="154" y="280"/>
                  <a:pt x="154" y="280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54" y="226"/>
                  <a:pt x="154" y="226"/>
                  <a:pt x="154" y="226"/>
                </a:cubicBezTo>
                <a:cubicBezTo>
                  <a:pt x="154" y="193"/>
                  <a:pt x="134" y="179"/>
                  <a:pt x="116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latin typeface="+mj-lt"/>
            </a:endParaRP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93CF84E6-DB80-C040-8D2B-6B117435B35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2640" y="1933804"/>
            <a:ext cx="491102" cy="492306"/>
            <a:chOff x="1378" y="455"/>
            <a:chExt cx="408" cy="409"/>
          </a:xfrm>
          <a:solidFill>
            <a:schemeClr val="accent1"/>
          </a:solidFill>
        </p:grpSpPr>
        <p:sp>
          <p:nvSpPr>
            <p:cNvPr id="353" name="Freeform 10">
              <a:extLst>
                <a:ext uri="{FF2B5EF4-FFF2-40B4-BE49-F238E27FC236}">
                  <a16:creationId xmlns:a16="http://schemas.microsoft.com/office/drawing/2014/main" id="{19E0843A-545A-5E44-8AF6-E92D9679B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2" y="489"/>
              <a:ext cx="340" cy="341"/>
            </a:xfrm>
            <a:custGeom>
              <a:avLst/>
              <a:gdLst>
                <a:gd name="T0" fmla="*/ 115 w 230"/>
                <a:gd name="T1" fmla="*/ 230 h 230"/>
                <a:gd name="T2" fmla="*/ 0 w 230"/>
                <a:gd name="T3" fmla="*/ 115 h 230"/>
                <a:gd name="T4" fmla="*/ 115 w 230"/>
                <a:gd name="T5" fmla="*/ 0 h 230"/>
                <a:gd name="T6" fmla="*/ 230 w 230"/>
                <a:gd name="T7" fmla="*/ 115 h 230"/>
                <a:gd name="T8" fmla="*/ 115 w 230"/>
                <a:gd name="T9" fmla="*/ 230 h 230"/>
                <a:gd name="T10" fmla="*/ 115 w 230"/>
                <a:gd name="T11" fmla="*/ 12 h 230"/>
                <a:gd name="T12" fmla="*/ 12 w 230"/>
                <a:gd name="T13" fmla="*/ 115 h 230"/>
                <a:gd name="T14" fmla="*/ 115 w 230"/>
                <a:gd name="T15" fmla="*/ 218 h 230"/>
                <a:gd name="T16" fmla="*/ 218 w 230"/>
                <a:gd name="T17" fmla="*/ 115 h 230"/>
                <a:gd name="T18" fmla="*/ 115 w 230"/>
                <a:gd name="T19" fmla="*/ 1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230">
                  <a:moveTo>
                    <a:pt x="115" y="230"/>
                  </a:moveTo>
                  <a:cubicBezTo>
                    <a:pt x="52" y="230"/>
                    <a:pt x="0" y="178"/>
                    <a:pt x="0" y="115"/>
                  </a:cubicBezTo>
                  <a:cubicBezTo>
                    <a:pt x="0" y="51"/>
                    <a:pt x="52" y="0"/>
                    <a:pt x="115" y="0"/>
                  </a:cubicBezTo>
                  <a:cubicBezTo>
                    <a:pt x="179" y="0"/>
                    <a:pt x="230" y="51"/>
                    <a:pt x="230" y="115"/>
                  </a:cubicBezTo>
                  <a:cubicBezTo>
                    <a:pt x="230" y="178"/>
                    <a:pt x="179" y="230"/>
                    <a:pt x="115" y="230"/>
                  </a:cubicBezTo>
                  <a:close/>
                  <a:moveTo>
                    <a:pt x="115" y="12"/>
                  </a:moveTo>
                  <a:cubicBezTo>
                    <a:pt x="59" y="12"/>
                    <a:pt x="12" y="58"/>
                    <a:pt x="12" y="115"/>
                  </a:cubicBezTo>
                  <a:cubicBezTo>
                    <a:pt x="12" y="172"/>
                    <a:pt x="59" y="218"/>
                    <a:pt x="115" y="218"/>
                  </a:cubicBezTo>
                  <a:cubicBezTo>
                    <a:pt x="172" y="218"/>
                    <a:pt x="218" y="172"/>
                    <a:pt x="218" y="115"/>
                  </a:cubicBezTo>
                  <a:cubicBezTo>
                    <a:pt x="218" y="58"/>
                    <a:pt x="172" y="12"/>
                    <a:pt x="11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4" name="Freeform 11">
              <a:extLst>
                <a:ext uri="{FF2B5EF4-FFF2-40B4-BE49-F238E27FC236}">
                  <a16:creationId xmlns:a16="http://schemas.microsoft.com/office/drawing/2014/main" id="{E215F30D-61AD-A146-85D1-7B02FC0B2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" y="574"/>
              <a:ext cx="170" cy="170"/>
            </a:xfrm>
            <a:custGeom>
              <a:avLst/>
              <a:gdLst>
                <a:gd name="T0" fmla="*/ 57 w 115"/>
                <a:gd name="T1" fmla="*/ 115 h 115"/>
                <a:gd name="T2" fmla="*/ 0 w 115"/>
                <a:gd name="T3" fmla="*/ 58 h 115"/>
                <a:gd name="T4" fmla="*/ 57 w 115"/>
                <a:gd name="T5" fmla="*/ 0 h 115"/>
                <a:gd name="T6" fmla="*/ 115 w 115"/>
                <a:gd name="T7" fmla="*/ 58 h 115"/>
                <a:gd name="T8" fmla="*/ 57 w 115"/>
                <a:gd name="T9" fmla="*/ 115 h 115"/>
                <a:gd name="T10" fmla="*/ 57 w 115"/>
                <a:gd name="T11" fmla="*/ 12 h 115"/>
                <a:gd name="T12" fmla="*/ 12 w 115"/>
                <a:gd name="T13" fmla="*/ 58 h 115"/>
                <a:gd name="T14" fmla="*/ 57 w 115"/>
                <a:gd name="T15" fmla="*/ 103 h 115"/>
                <a:gd name="T16" fmla="*/ 103 w 115"/>
                <a:gd name="T17" fmla="*/ 58 h 115"/>
                <a:gd name="T18" fmla="*/ 57 w 115"/>
                <a:gd name="T19" fmla="*/ 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57" y="115"/>
                  </a:moveTo>
                  <a:cubicBezTo>
                    <a:pt x="26" y="115"/>
                    <a:pt x="0" y="90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9" y="0"/>
                    <a:pt x="115" y="26"/>
                    <a:pt x="115" y="58"/>
                  </a:cubicBezTo>
                  <a:cubicBezTo>
                    <a:pt x="115" y="90"/>
                    <a:pt x="89" y="115"/>
                    <a:pt x="57" y="115"/>
                  </a:cubicBezTo>
                  <a:close/>
                  <a:moveTo>
                    <a:pt x="57" y="12"/>
                  </a:moveTo>
                  <a:cubicBezTo>
                    <a:pt x="32" y="12"/>
                    <a:pt x="12" y="33"/>
                    <a:pt x="12" y="58"/>
                  </a:cubicBezTo>
                  <a:cubicBezTo>
                    <a:pt x="12" y="83"/>
                    <a:pt x="32" y="103"/>
                    <a:pt x="57" y="103"/>
                  </a:cubicBezTo>
                  <a:cubicBezTo>
                    <a:pt x="83" y="103"/>
                    <a:pt x="103" y="83"/>
                    <a:pt x="103" y="58"/>
                  </a:cubicBezTo>
                  <a:cubicBezTo>
                    <a:pt x="103" y="33"/>
                    <a:pt x="83" y="12"/>
                    <a:pt x="5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5" name="Freeform 12">
              <a:extLst>
                <a:ext uri="{FF2B5EF4-FFF2-40B4-BE49-F238E27FC236}">
                  <a16:creationId xmlns:a16="http://schemas.microsoft.com/office/drawing/2014/main" id="{B99AB6FD-96E3-0141-8570-EF1AD698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455"/>
              <a:ext cx="18" cy="409"/>
            </a:xfrm>
            <a:custGeom>
              <a:avLst/>
              <a:gdLst>
                <a:gd name="T0" fmla="*/ 6 w 12"/>
                <a:gd name="T1" fmla="*/ 276 h 276"/>
                <a:gd name="T2" fmla="*/ 0 w 12"/>
                <a:gd name="T3" fmla="*/ 270 h 276"/>
                <a:gd name="T4" fmla="*/ 0 w 12"/>
                <a:gd name="T5" fmla="*/ 6 h 276"/>
                <a:gd name="T6" fmla="*/ 6 w 12"/>
                <a:gd name="T7" fmla="*/ 0 h 276"/>
                <a:gd name="T8" fmla="*/ 12 w 12"/>
                <a:gd name="T9" fmla="*/ 6 h 276"/>
                <a:gd name="T10" fmla="*/ 12 w 12"/>
                <a:gd name="T11" fmla="*/ 270 h 276"/>
                <a:gd name="T12" fmla="*/ 6 w 12"/>
                <a:gd name="T13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6">
                  <a:moveTo>
                    <a:pt x="6" y="276"/>
                  </a:moveTo>
                  <a:cubicBezTo>
                    <a:pt x="3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70"/>
                    <a:pt x="12" y="270"/>
                    <a:pt x="12" y="270"/>
                  </a:cubicBezTo>
                  <a:cubicBezTo>
                    <a:pt x="12" y="273"/>
                    <a:pt x="10" y="276"/>
                    <a:pt x="6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6" name="Freeform 13">
              <a:extLst>
                <a:ext uri="{FF2B5EF4-FFF2-40B4-BE49-F238E27FC236}">
                  <a16:creationId xmlns:a16="http://schemas.microsoft.com/office/drawing/2014/main" id="{B8756B43-11EC-4C44-B2BA-7B15246B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651"/>
              <a:ext cx="408" cy="17"/>
            </a:xfrm>
            <a:custGeom>
              <a:avLst/>
              <a:gdLst>
                <a:gd name="T0" fmla="*/ 270 w 276"/>
                <a:gd name="T1" fmla="*/ 12 h 12"/>
                <a:gd name="T2" fmla="*/ 6 w 276"/>
                <a:gd name="T3" fmla="*/ 12 h 12"/>
                <a:gd name="T4" fmla="*/ 0 w 276"/>
                <a:gd name="T5" fmla="*/ 6 h 12"/>
                <a:gd name="T6" fmla="*/ 6 w 276"/>
                <a:gd name="T7" fmla="*/ 0 h 12"/>
                <a:gd name="T8" fmla="*/ 270 w 276"/>
                <a:gd name="T9" fmla="*/ 0 h 12"/>
                <a:gd name="T10" fmla="*/ 276 w 276"/>
                <a:gd name="T11" fmla="*/ 6 h 12"/>
                <a:gd name="T12" fmla="*/ 270 w 27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2">
                  <a:moveTo>
                    <a:pt x="27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9"/>
                    <a:pt x="274" y="12"/>
                    <a:pt x="27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57" name="Group 60">
            <a:extLst>
              <a:ext uri="{FF2B5EF4-FFF2-40B4-BE49-F238E27FC236}">
                <a16:creationId xmlns:a16="http://schemas.microsoft.com/office/drawing/2014/main" id="{3B66017D-AE30-3842-A30B-430AD751F9D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34652" y="5494451"/>
            <a:ext cx="481666" cy="480536"/>
            <a:chOff x="348" y="1721"/>
            <a:chExt cx="426" cy="425"/>
          </a:xfrm>
          <a:solidFill>
            <a:schemeClr val="accent1"/>
          </a:solidFill>
        </p:grpSpPr>
        <p:sp>
          <p:nvSpPr>
            <p:cNvPr id="358" name="Freeform 61">
              <a:extLst>
                <a:ext uri="{FF2B5EF4-FFF2-40B4-BE49-F238E27FC236}">
                  <a16:creationId xmlns:a16="http://schemas.microsoft.com/office/drawing/2014/main" id="{2C5B2D4E-1F4D-CB46-A341-2B749AC7F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59" name="Freeform 62">
              <a:extLst>
                <a:ext uri="{FF2B5EF4-FFF2-40B4-BE49-F238E27FC236}">
                  <a16:creationId xmlns:a16="http://schemas.microsoft.com/office/drawing/2014/main" id="{DD515909-F712-6D4B-BF72-2C4B8885D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CC9BE79E-AA71-604B-8FB7-CFEA0AC84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1783"/>
              <a:ext cx="244" cy="248"/>
            </a:xfrm>
            <a:custGeom>
              <a:avLst/>
              <a:gdLst>
                <a:gd name="T0" fmla="*/ 66 w 165"/>
                <a:gd name="T1" fmla="*/ 168 h 168"/>
                <a:gd name="T2" fmla="*/ 60 w 165"/>
                <a:gd name="T3" fmla="*/ 146 h 168"/>
                <a:gd name="T4" fmla="*/ 27 w 165"/>
                <a:gd name="T5" fmla="*/ 143 h 168"/>
                <a:gd name="T6" fmla="*/ 1 w 165"/>
                <a:gd name="T7" fmla="*/ 110 h 168"/>
                <a:gd name="T8" fmla="*/ 3 w 165"/>
                <a:gd name="T9" fmla="*/ 102 h 168"/>
                <a:gd name="T10" fmla="*/ 17 w 165"/>
                <a:gd name="T11" fmla="*/ 74 h 168"/>
                <a:gd name="T12" fmla="*/ 0 w 165"/>
                <a:gd name="T13" fmla="*/ 62 h 168"/>
                <a:gd name="T14" fmla="*/ 19 w 165"/>
                <a:gd name="T15" fmla="*/ 26 h 168"/>
                <a:gd name="T16" fmla="*/ 42 w 165"/>
                <a:gd name="T17" fmla="*/ 32 h 168"/>
                <a:gd name="T18" fmla="*/ 60 w 165"/>
                <a:gd name="T19" fmla="*/ 6 h 168"/>
                <a:gd name="T20" fmla="*/ 102 w 165"/>
                <a:gd name="T21" fmla="*/ 0 h 168"/>
                <a:gd name="T22" fmla="*/ 108 w 165"/>
                <a:gd name="T23" fmla="*/ 23 h 168"/>
                <a:gd name="T24" fmla="*/ 138 w 165"/>
                <a:gd name="T25" fmla="*/ 24 h 168"/>
                <a:gd name="T26" fmla="*/ 146 w 165"/>
                <a:gd name="T27" fmla="*/ 26 h 168"/>
                <a:gd name="T28" fmla="*/ 165 w 165"/>
                <a:gd name="T29" fmla="*/ 62 h 168"/>
                <a:gd name="T30" fmla="*/ 148 w 165"/>
                <a:gd name="T31" fmla="*/ 74 h 168"/>
                <a:gd name="T32" fmla="*/ 162 w 165"/>
                <a:gd name="T33" fmla="*/ 102 h 168"/>
                <a:gd name="T34" fmla="*/ 164 w 165"/>
                <a:gd name="T35" fmla="*/ 110 h 168"/>
                <a:gd name="T36" fmla="*/ 143 w 165"/>
                <a:gd name="T37" fmla="*/ 144 h 168"/>
                <a:gd name="T38" fmla="*/ 124 w 165"/>
                <a:gd name="T39" fmla="*/ 135 h 168"/>
                <a:gd name="T40" fmla="*/ 108 w 165"/>
                <a:gd name="T41" fmla="*/ 162 h 168"/>
                <a:gd name="T42" fmla="*/ 72 w 165"/>
                <a:gd name="T43" fmla="*/ 156 h 168"/>
                <a:gd name="T44" fmla="*/ 96 w 165"/>
                <a:gd name="T45" fmla="*/ 141 h 168"/>
                <a:gd name="T46" fmla="*/ 120 w 165"/>
                <a:gd name="T47" fmla="*/ 123 h 168"/>
                <a:gd name="T48" fmla="*/ 139 w 165"/>
                <a:gd name="T49" fmla="*/ 130 h 168"/>
                <a:gd name="T50" fmla="*/ 138 w 165"/>
                <a:gd name="T51" fmla="*/ 102 h 168"/>
                <a:gd name="T52" fmla="*/ 135 w 165"/>
                <a:gd name="T53" fmla="*/ 72 h 168"/>
                <a:gd name="T54" fmla="*/ 151 w 165"/>
                <a:gd name="T55" fmla="*/ 58 h 168"/>
                <a:gd name="T56" fmla="*/ 127 w 165"/>
                <a:gd name="T57" fmla="*/ 45 h 168"/>
                <a:gd name="T58" fmla="*/ 100 w 165"/>
                <a:gd name="T59" fmla="*/ 32 h 168"/>
                <a:gd name="T60" fmla="*/ 96 w 165"/>
                <a:gd name="T61" fmla="*/ 12 h 168"/>
                <a:gd name="T62" fmla="*/ 72 w 165"/>
                <a:gd name="T63" fmla="*/ 26 h 168"/>
                <a:gd name="T64" fmla="*/ 47 w 165"/>
                <a:gd name="T65" fmla="*/ 44 h 168"/>
                <a:gd name="T66" fmla="*/ 27 w 165"/>
                <a:gd name="T67" fmla="*/ 37 h 168"/>
                <a:gd name="T68" fmla="*/ 27 w 165"/>
                <a:gd name="T69" fmla="*/ 65 h 168"/>
                <a:gd name="T70" fmla="*/ 30 w 165"/>
                <a:gd name="T71" fmla="*/ 95 h 168"/>
                <a:gd name="T72" fmla="*/ 14 w 165"/>
                <a:gd name="T73" fmla="*/ 109 h 168"/>
                <a:gd name="T74" fmla="*/ 40 w 165"/>
                <a:gd name="T75" fmla="*/ 123 h 168"/>
                <a:gd name="T76" fmla="*/ 67 w 165"/>
                <a:gd name="T77" fmla="*/ 135 h 168"/>
                <a:gd name="T78" fmla="*/ 72 w 165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4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0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6" y="87"/>
                    <a:pt x="16" y="80"/>
                    <a:pt x="17" y="7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1" y="63"/>
                    <a:pt x="0" y="62"/>
                  </a:cubicBezTo>
                  <a:cubicBezTo>
                    <a:pt x="0" y="60"/>
                    <a:pt x="0" y="59"/>
                    <a:pt x="1" y="5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1" y="23"/>
                    <a:pt x="25" y="22"/>
                    <a:pt x="27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0" y="29"/>
                    <a:pt x="124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3"/>
                    <a:pt x="141" y="23"/>
                    <a:pt x="143" y="23"/>
                  </a:cubicBezTo>
                  <a:cubicBezTo>
                    <a:pt x="144" y="24"/>
                    <a:pt x="146" y="25"/>
                    <a:pt x="146" y="26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5" y="59"/>
                    <a:pt x="165" y="60"/>
                    <a:pt x="165" y="62"/>
                  </a:cubicBezTo>
                  <a:cubicBezTo>
                    <a:pt x="165" y="63"/>
                    <a:pt x="164" y="65"/>
                    <a:pt x="162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5" y="107"/>
                    <a:pt x="165" y="109"/>
                    <a:pt x="164" y="110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6" y="143"/>
                    <a:pt x="144" y="144"/>
                    <a:pt x="143" y="144"/>
                  </a:cubicBezTo>
                  <a:cubicBezTo>
                    <a:pt x="141" y="144"/>
                    <a:pt x="139" y="144"/>
                    <a:pt x="138" y="143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0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5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7" y="136"/>
                    <a:pt x="100" y="135"/>
                  </a:cubicBezTo>
                  <a:cubicBezTo>
                    <a:pt x="109" y="131"/>
                    <a:pt x="115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8" y="102"/>
                    <a:pt x="138" y="102"/>
                    <a:pt x="138" y="102"/>
                  </a:cubicBezTo>
                  <a:cubicBezTo>
                    <a:pt x="136" y="101"/>
                    <a:pt x="135" y="98"/>
                    <a:pt x="135" y="95"/>
                  </a:cubicBezTo>
                  <a:cubicBezTo>
                    <a:pt x="137" y="87"/>
                    <a:pt x="137" y="80"/>
                    <a:pt x="135" y="72"/>
                  </a:cubicBezTo>
                  <a:cubicBezTo>
                    <a:pt x="135" y="69"/>
                    <a:pt x="136" y="67"/>
                    <a:pt x="138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7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0" y="32"/>
                    <a:pt x="67" y="32"/>
                  </a:cubicBezTo>
                  <a:cubicBezTo>
                    <a:pt x="57" y="35"/>
                    <a:pt x="53" y="38"/>
                    <a:pt x="47" y="44"/>
                  </a:cubicBezTo>
                  <a:cubicBezTo>
                    <a:pt x="45" y="45"/>
                    <a:pt x="42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9" y="67"/>
                    <a:pt x="31" y="69"/>
                    <a:pt x="30" y="72"/>
                  </a:cubicBezTo>
                  <a:cubicBezTo>
                    <a:pt x="28" y="80"/>
                    <a:pt x="28" y="88"/>
                    <a:pt x="30" y="95"/>
                  </a:cubicBezTo>
                  <a:cubicBezTo>
                    <a:pt x="31" y="98"/>
                    <a:pt x="29" y="101"/>
                    <a:pt x="27" y="102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2" y="121"/>
                    <a:pt x="45" y="122"/>
                    <a:pt x="47" y="123"/>
                  </a:cubicBezTo>
                  <a:cubicBezTo>
                    <a:pt x="53" y="129"/>
                    <a:pt x="57" y="133"/>
                    <a:pt x="67" y="135"/>
                  </a:cubicBezTo>
                  <a:cubicBezTo>
                    <a:pt x="70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1" name="Freeform 64">
              <a:extLst>
                <a:ext uri="{FF2B5EF4-FFF2-40B4-BE49-F238E27FC236}">
                  <a16:creationId xmlns:a16="http://schemas.microsoft.com/office/drawing/2014/main" id="{7949AA08-1950-4A44-91C1-8E34BD10E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" y="1863"/>
              <a:ext cx="89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62" name="Group 83">
            <a:extLst>
              <a:ext uri="{FF2B5EF4-FFF2-40B4-BE49-F238E27FC236}">
                <a16:creationId xmlns:a16="http://schemas.microsoft.com/office/drawing/2014/main" id="{EFF1C6C9-655D-274A-BF87-2269FFB360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59261" y="4300132"/>
            <a:ext cx="479568" cy="490720"/>
            <a:chOff x="1580" y="1910"/>
            <a:chExt cx="387" cy="396"/>
          </a:xfrm>
          <a:solidFill>
            <a:schemeClr val="accent4"/>
          </a:solidFill>
        </p:grpSpPr>
        <p:sp>
          <p:nvSpPr>
            <p:cNvPr id="363" name="Freeform 84">
              <a:extLst>
                <a:ext uri="{FF2B5EF4-FFF2-40B4-BE49-F238E27FC236}">
                  <a16:creationId xmlns:a16="http://schemas.microsoft.com/office/drawing/2014/main" id="{A5BD3BA6-1E5D-A147-A5E7-38A35AFB2F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4" name="Freeform 85">
              <a:extLst>
                <a:ext uri="{FF2B5EF4-FFF2-40B4-BE49-F238E27FC236}">
                  <a16:creationId xmlns:a16="http://schemas.microsoft.com/office/drawing/2014/main" id="{16B4A2A5-EFF3-D844-8BFB-D9FC0A674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5" name="Freeform 86">
              <a:extLst>
                <a:ext uri="{FF2B5EF4-FFF2-40B4-BE49-F238E27FC236}">
                  <a16:creationId xmlns:a16="http://schemas.microsoft.com/office/drawing/2014/main" id="{01032911-E44E-6A44-B3AE-2C20E895B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6" name="Freeform 87">
              <a:extLst>
                <a:ext uri="{FF2B5EF4-FFF2-40B4-BE49-F238E27FC236}">
                  <a16:creationId xmlns:a16="http://schemas.microsoft.com/office/drawing/2014/main" id="{329745C6-8CE0-9B43-A51F-DC7EC13E0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7" name="Freeform 88">
              <a:extLst>
                <a:ext uri="{FF2B5EF4-FFF2-40B4-BE49-F238E27FC236}">
                  <a16:creationId xmlns:a16="http://schemas.microsoft.com/office/drawing/2014/main" id="{8FA27E58-1649-0041-A7D0-1488B173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8" name="Freeform 89">
              <a:extLst>
                <a:ext uri="{FF2B5EF4-FFF2-40B4-BE49-F238E27FC236}">
                  <a16:creationId xmlns:a16="http://schemas.microsoft.com/office/drawing/2014/main" id="{09F7C906-F808-E349-BEC7-3B3085AFF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9" name="Freeform 90">
              <a:extLst>
                <a:ext uri="{FF2B5EF4-FFF2-40B4-BE49-F238E27FC236}">
                  <a16:creationId xmlns:a16="http://schemas.microsoft.com/office/drawing/2014/main" id="{7A702297-D13A-8649-B1E4-169139C5B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70" name="Freeform 91">
              <a:extLst>
                <a:ext uri="{FF2B5EF4-FFF2-40B4-BE49-F238E27FC236}">
                  <a16:creationId xmlns:a16="http://schemas.microsoft.com/office/drawing/2014/main" id="{B529D1D4-ACB6-4044-80CA-AB16AF0C4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pSp>
        <p:nvGrpSpPr>
          <p:cNvPr id="371" name="Group 56">
            <a:extLst>
              <a:ext uri="{FF2B5EF4-FFF2-40B4-BE49-F238E27FC236}">
                <a16:creationId xmlns:a16="http://schemas.microsoft.com/office/drawing/2014/main" id="{754010E9-6578-4145-B63E-FE551FCF0B3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00111" y="1923077"/>
            <a:ext cx="513762" cy="513760"/>
            <a:chOff x="6721" y="600"/>
            <a:chExt cx="426" cy="426"/>
          </a:xfrm>
          <a:solidFill>
            <a:schemeClr val="accent4"/>
          </a:solidFill>
        </p:grpSpPr>
        <p:sp>
          <p:nvSpPr>
            <p:cNvPr id="372" name="Freeform 57">
              <a:extLst>
                <a:ext uri="{FF2B5EF4-FFF2-40B4-BE49-F238E27FC236}">
                  <a16:creationId xmlns:a16="http://schemas.microsoft.com/office/drawing/2014/main" id="{E54CC8A3-2BE8-4348-8408-7A6C774ED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" y="600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3" name="Freeform 58">
              <a:extLst>
                <a:ext uri="{FF2B5EF4-FFF2-40B4-BE49-F238E27FC236}">
                  <a16:creationId xmlns:a16="http://schemas.microsoft.com/office/drawing/2014/main" id="{468ADAAF-C6DA-A647-AC52-16E1AB8E8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7" y="813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4" name="Freeform 59">
              <a:extLst>
                <a:ext uri="{FF2B5EF4-FFF2-40B4-BE49-F238E27FC236}">
                  <a16:creationId xmlns:a16="http://schemas.microsoft.com/office/drawing/2014/main" id="{1D2D45F1-2BA4-144E-BFD4-CF2AE4D80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" y="85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5" name="Freeform 60">
              <a:extLst>
                <a:ext uri="{FF2B5EF4-FFF2-40B4-BE49-F238E27FC236}">
                  <a16:creationId xmlns:a16="http://schemas.microsoft.com/office/drawing/2014/main" id="{B9008D23-F674-6448-903D-C3B5D32E5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" y="607"/>
              <a:ext cx="213" cy="313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6" name="Freeform 61">
              <a:extLst>
                <a:ext uri="{FF2B5EF4-FFF2-40B4-BE49-F238E27FC236}">
                  <a16:creationId xmlns:a16="http://schemas.microsoft.com/office/drawing/2014/main" id="{81B4FE17-16E8-1D46-A84D-C61DF767F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" y="665"/>
              <a:ext cx="112" cy="108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6439B37-7E18-2D43-9C03-BCA23C9C27E0}"/>
              </a:ext>
            </a:extLst>
          </p:cNvPr>
          <p:cNvSpPr txBox="1"/>
          <p:nvPr userDrawn="1"/>
        </p:nvSpPr>
        <p:spPr>
          <a:xfrm>
            <a:off x="4732020" y="20802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128519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187068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Slide -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2984D0-732D-42D6-9902-5076C03E9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221" y="5881492"/>
            <a:ext cx="4395557" cy="278295"/>
          </a:xfrm>
          <a:prstGeom prst="rect">
            <a:avLst/>
          </a:prstGeom>
        </p:spPr>
      </p:pic>
      <p:pic>
        <p:nvPicPr>
          <p:cNvPr id="4" name="Picture 3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10C49762-38E4-48E9-8096-41008426FC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698213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05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2" y="698213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3E249B-71DD-844A-A419-DCE08CBE4D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221" y="5881492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79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486715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+ Greater Than 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4FFA725-883D-D243-B475-CEF8C282E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A1302B-6794-45FA-A428-AB50D28EF9A2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E5FCD86B-B6A8-4016-9F0D-3FDC4C784D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698213"/>
            <a:ext cx="670786" cy="710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DA13B6-DED0-467D-BE25-BD8B9FEEF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5881492"/>
            <a:ext cx="433277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58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4FFA725-883D-D243-B475-CEF8C282E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Wel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A1302B-6794-45FA-A428-AB50D28EF9A2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it-IT" noProof="0"/>
              <a:t>Format Background… &gt; Picture or texture fill &gt; Set to one of the dark or mid gradient options</a:t>
            </a:r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E5FCD86B-B6A8-4016-9F0D-3FDC4C784D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698213"/>
            <a:ext cx="670786" cy="710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DA13B6-DED0-467D-BE25-BD8B9FEEF2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881492"/>
            <a:ext cx="433277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261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59C8654-2CC9-F541-A924-257D0187B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89" y="0"/>
            <a:ext cx="1221008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9EB74AD-1B7B-4DBD-AD4A-8DA48458B4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4C2CB2-4FB2-4965-A2E7-4A3640116F06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15DA8F74-8D2F-E745-B600-2FEBC256C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DC00D36-8672-4CC5-BCC9-94800B083E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084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2C8E55-8CAE-FC4A-BA3A-F66815D734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922CB3-850F-0445-AC8B-17707616D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7496C749-B3E7-664A-94B5-490B1D462E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91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7496C749-B3E7-664A-94B5-490B1D462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114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pPr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2A8E9C-042F-B642-A530-4D7EA9092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001" y="381000"/>
            <a:ext cx="670786" cy="7328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A167907-8907-9E46-A65A-15989AEB0B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1" y="6198895"/>
            <a:ext cx="4395558" cy="278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582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93131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it-IT"/>
              <a:t>Add image, then ‘Send to Back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2027240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it-IT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741093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it-IT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it-IT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61050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it-IT"/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855474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7DBDB91-8433-475D-A584-8C065B657FEE}"/>
              </a:ext>
            </a:extLst>
          </p:cNvPr>
          <p:cNvSpPr/>
          <p:nvPr userDrawn="1"/>
        </p:nvSpPr>
        <p:spPr>
          <a:xfrm>
            <a:off x="0" y="0"/>
            <a:ext cx="61883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681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59C8654-2CC9-F541-A924-257D0187B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89" y="0"/>
            <a:ext cx="1221008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9EB74AD-1B7B-4DBD-AD4A-8DA48458B4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4C2CB2-4FB2-4965-A2E7-4A3640116F06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15DA8F74-8D2F-E745-B600-2FEBC256C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DC00D36-8672-4CC5-BCC9-94800B083E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499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it-IT"/>
              <a:t>Place headline here (36pt, min 30pt)</a:t>
            </a:r>
          </a:p>
        </p:txBody>
      </p:sp>
    </p:spTree>
    <p:extLst>
      <p:ext uri="{BB962C8B-B14F-4D97-AF65-F5344CB8AC3E}">
        <p14:creationId xmlns:p14="http://schemas.microsoft.com/office/powerpoint/2010/main" val="250196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Quote_ImageDark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it-IT">
                <a:solidFill>
                  <a:srgbClr val="FFFFFF">
                    <a:alpha val="50000"/>
                  </a:srgbClr>
                </a:solidFill>
              </a:rPr>
              <a:t>Copyright © 2023 ATM 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2"/>
          </p:nvPr>
        </p:nvSpPr>
        <p:spPr>
          <a:xfrm>
            <a:off x="8318090" y="6356350"/>
            <a:ext cx="303571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it-IT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#›</a:t>
            </a:fld>
            <a:endParaRPr lang="it-IT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1287578"/>
            <a:ext cx="5582180" cy="1731199"/>
          </a:xfrm>
        </p:spPr>
        <p:txBody>
          <a:bodyPr tIns="0" anchor="b" anchorCtr="0"/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lang="en-AU" sz="2799" b="0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INSERT QUOTE at 28pt min 36pt MAX 3 LINES     AS OLESTOTATE CON RAERUM ES INI EREPUDI ODIT EHENDIAM EUM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792702" y="3276929"/>
            <a:ext cx="4145219" cy="664643"/>
          </a:xfrm>
        </p:spPr>
        <p:txBody>
          <a:bodyPr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en-US" sz="1600" b="0" kern="1200" cap="all" baseline="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INSERT AUTHOR’S DETAILS HERE. UPPERCASE, maximum 3 lines </a:t>
            </a:r>
            <a:br>
              <a:rPr lang="it-IT"/>
            </a:br>
            <a:r>
              <a:rPr lang="it-IT"/>
              <a:t>AT 16PT, MINIMUM 14PT. </a:t>
            </a:r>
          </a:p>
        </p:txBody>
      </p:sp>
    </p:spTree>
    <p:extLst>
      <p:ext uri="{BB962C8B-B14F-4D97-AF65-F5344CB8AC3E}">
        <p14:creationId xmlns:p14="http://schemas.microsoft.com/office/powerpoint/2010/main" val="40323165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DC57E-7C24-9B4C-3145-3324BA5D3B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E4D04E-CC36-0ED7-48CC-7BDC5391C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4D1D4-7280-65BD-EBE5-191F4406E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978100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ccenture Gradient Dark">
            <a:extLst>
              <a:ext uri="{FF2B5EF4-FFF2-40B4-BE49-F238E27FC236}">
                <a16:creationId xmlns:a16="http://schemas.microsoft.com/office/drawing/2014/main" id="{A78B4D63-C028-3702-DC8A-9D36EA26C3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3 Accenture. All rights reserved.</a:t>
            </a:r>
          </a:p>
        </p:txBody>
      </p:sp>
      <p:sp>
        <p:nvSpPr>
          <p:cNvPr id="14" name="GTS_WH">
            <a:extLst>
              <a:ext uri="{FF2B5EF4-FFF2-40B4-BE49-F238E27FC236}">
                <a16:creationId xmlns:a16="http://schemas.microsoft.com/office/drawing/2014/main" id="{3FC0722F-C643-4988-96E8-F00519CB3A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28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2C8E55-8CAE-FC4A-BA3A-F66815D734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922CB3-850F-0445-AC8B-17707616D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7496C749-B3E7-664A-94B5-490B1D462E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5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12" name="Picture 1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7496C749-B3E7-664A-94B5-490B1D462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406666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936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it-IT" smtClean="0"/>
              <a:pPr/>
              <a:t>venerdì 3 ottobre 2025</a:t>
            </a:fld>
            <a:endParaRPr lang="it-IT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Present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it-IT"/>
              <a:t>Place subtitle here in GT Sectra Fine 24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817" y="6173039"/>
            <a:ext cx="4395557" cy="2782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2A8E9C-042F-B642-A530-4D7EA90923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381000"/>
            <a:ext cx="670786" cy="7328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A167907-8907-9E46-A65A-15989AEB0B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1" y="6198895"/>
            <a:ext cx="4395558" cy="278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074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it-IT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it-IT"/>
              <a:t>Agenda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it-IT"/>
              <a:t>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2654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27B0E0-8C8A-4DF5-9414-54B919A4C2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80586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95" imgH="396" progId="TCLayout.ActiveDocument.1">
                  <p:embed/>
                </p:oleObj>
              </mc:Choice>
              <mc:Fallback>
                <p:oleObj name="think-cell Slide" r:id="rId5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27B0E0-8C8A-4DF5-9414-54B919A4C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852644" y="6649030"/>
            <a:ext cx="2563906" cy="2027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chemeClr val="tx1">
                    <a:alpha val="75000"/>
                  </a:schemeClr>
                </a:solidFill>
              </a:rPr>
              <a:t>Copyright © 2024 Accenture. </a:t>
            </a:r>
            <a:r>
              <a:rPr lang="it-IT" sz="800" dirty="0" err="1">
                <a:solidFill>
                  <a:schemeClr val="tx1">
                    <a:alpha val="75000"/>
                  </a:schemeClr>
                </a:solidFill>
              </a:rPr>
              <a:t>All</a:t>
            </a:r>
            <a:r>
              <a:rPr lang="it-IT" sz="800" dirty="0">
                <a:solidFill>
                  <a:schemeClr val="tx1">
                    <a:alpha val="75000"/>
                  </a:schemeClr>
                </a:solidFill>
              </a:rPr>
              <a:t> </a:t>
            </a:r>
            <a:r>
              <a:rPr lang="it-IT" sz="800" dirty="0" err="1">
                <a:solidFill>
                  <a:schemeClr val="tx1">
                    <a:alpha val="75000"/>
                  </a:schemeClr>
                </a:solidFill>
              </a:rPr>
              <a:t>rights</a:t>
            </a:r>
            <a:r>
              <a:rPr lang="it-IT" sz="800" dirty="0">
                <a:solidFill>
                  <a:schemeClr val="tx1">
                    <a:alpha val="75000"/>
                  </a:schemeClr>
                </a:solidFill>
              </a:rPr>
              <a:t> </a:t>
            </a:r>
            <a:r>
              <a:rPr lang="it-IT" sz="800" dirty="0" err="1">
                <a:solidFill>
                  <a:schemeClr val="tx1">
                    <a:alpha val="75000"/>
                  </a:schemeClr>
                </a:solidFill>
              </a:rPr>
              <a:t>reserved</a:t>
            </a:r>
            <a:r>
              <a:rPr lang="it-IT" sz="800" dirty="0">
                <a:solidFill>
                  <a:schemeClr val="tx1">
                    <a:alpha val="75000"/>
                  </a:schemeClr>
                </a:solidFill>
              </a:rPr>
              <a:t>.</a:t>
            </a:r>
            <a:endParaRPr lang="it-IT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Place headline </a:t>
            </a:r>
            <a:r>
              <a:rPr lang="it-IT" err="1"/>
              <a:t>here</a:t>
            </a:r>
            <a:r>
              <a:rPr lang="it-IT"/>
              <a:t>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irst </a:t>
            </a:r>
            <a:r>
              <a:rPr lang="it-IT" err="1"/>
              <a:t>level</a:t>
            </a:r>
            <a:r>
              <a:rPr lang="it-IT"/>
              <a:t> (copy 20pt)</a:t>
            </a:r>
          </a:p>
          <a:p>
            <a:pPr lvl="1"/>
            <a:r>
              <a:rPr lang="it-IT"/>
              <a:t>Second </a:t>
            </a:r>
            <a:r>
              <a:rPr lang="it-IT" err="1"/>
              <a:t>level</a:t>
            </a:r>
            <a:r>
              <a:rPr lang="it-IT"/>
              <a:t> (bullet 20pt)</a:t>
            </a:r>
          </a:p>
          <a:p>
            <a:pPr lvl="2"/>
            <a:r>
              <a:rPr lang="it-IT"/>
              <a:t>Third </a:t>
            </a:r>
            <a:r>
              <a:rPr lang="it-IT" err="1"/>
              <a:t>level</a:t>
            </a:r>
            <a:r>
              <a:rPr lang="it-IT"/>
              <a:t> (bullet 20pt)</a:t>
            </a:r>
          </a:p>
          <a:p>
            <a:pPr lvl="3"/>
            <a:r>
              <a:rPr lang="it-IT" err="1"/>
              <a:t>Fourth</a:t>
            </a:r>
            <a:r>
              <a:rPr lang="it-IT"/>
              <a:t> </a:t>
            </a:r>
            <a:r>
              <a:rPr lang="it-IT" err="1"/>
              <a:t>level</a:t>
            </a:r>
            <a:r>
              <a:rPr lang="it-IT"/>
              <a:t> (bullet 18pt)</a:t>
            </a:r>
          </a:p>
          <a:p>
            <a:pPr lvl="4"/>
            <a:r>
              <a:rPr lang="it-IT"/>
              <a:t>Fifth </a:t>
            </a:r>
            <a:r>
              <a:rPr lang="it-IT" err="1"/>
              <a:t>level</a:t>
            </a:r>
            <a:r>
              <a:rPr lang="it-IT"/>
              <a:t> (bullet 18pt)</a:t>
            </a:r>
          </a:p>
          <a:p>
            <a:pPr lvl="5"/>
            <a:r>
              <a:rPr lang="it-IT"/>
              <a:t>Sixth </a:t>
            </a:r>
            <a:r>
              <a:rPr lang="it-IT" err="1"/>
              <a:t>level</a:t>
            </a:r>
            <a:r>
              <a:rPr lang="it-IT"/>
              <a:t> (copy 16pt)</a:t>
            </a:r>
          </a:p>
          <a:p>
            <a:pPr lvl="6"/>
            <a:r>
              <a:rPr lang="it-IT" err="1"/>
              <a:t>Seventh</a:t>
            </a:r>
            <a:r>
              <a:rPr lang="it-IT"/>
              <a:t> </a:t>
            </a:r>
            <a:r>
              <a:rPr lang="it-IT" err="1"/>
              <a:t>level</a:t>
            </a:r>
            <a:r>
              <a:rPr lang="it-IT"/>
              <a:t> (small copy 12pt)</a:t>
            </a:r>
          </a:p>
          <a:p>
            <a:pPr lvl="7"/>
            <a:r>
              <a:rPr lang="it-IT"/>
              <a:t>EIGHT LEVEL (DESCRIPTOR 10PT)</a:t>
            </a:r>
          </a:p>
          <a:p>
            <a:pPr lvl="8"/>
            <a:r>
              <a:rPr lang="it-IT"/>
              <a:t>Ninth </a:t>
            </a:r>
            <a:r>
              <a:rPr lang="it-IT" err="1"/>
              <a:t>level</a:t>
            </a:r>
            <a:r>
              <a:rPr lang="it-IT"/>
              <a:t> (</a:t>
            </a:r>
            <a:r>
              <a:rPr lang="it-IT" err="1"/>
              <a:t>footer</a:t>
            </a:r>
            <a:r>
              <a:rPr lang="it-IT"/>
              <a:t> 8pt)</a:t>
            </a:r>
          </a:p>
        </p:txBody>
      </p:sp>
    </p:spTree>
    <p:extLst>
      <p:ext uri="{BB962C8B-B14F-4D97-AF65-F5344CB8AC3E}">
        <p14:creationId xmlns:p14="http://schemas.microsoft.com/office/powerpoint/2010/main" val="337549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5" r:id="rId53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F47039-434D-F6C4-5910-720FC0A36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318273"/>
            <a:ext cx="7040753" cy="2221454"/>
          </a:xfrm>
        </p:spPr>
        <p:txBody>
          <a:bodyPr/>
          <a:lstStyle/>
          <a:p>
            <a:r>
              <a:rPr lang="it-IT" sz="6000" dirty="0"/>
              <a:t>Indice documenti repositor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0104E4B-6CDF-F8A9-1CFC-31646A802D3E}"/>
              </a:ext>
            </a:extLst>
          </p:cNvPr>
          <p:cNvSpPr txBox="1">
            <a:spLocks/>
          </p:cNvSpPr>
          <p:nvPr/>
        </p:nvSpPr>
        <p:spPr>
          <a:xfrm>
            <a:off x="380999" y="4539727"/>
            <a:ext cx="7040753" cy="55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1400" dirty="0"/>
              <a:t>Ottobre 2025</a:t>
            </a:r>
          </a:p>
        </p:txBody>
      </p:sp>
    </p:spTree>
    <p:extLst>
      <p:ext uri="{BB962C8B-B14F-4D97-AF65-F5344CB8AC3E}">
        <p14:creationId xmlns:p14="http://schemas.microsoft.com/office/powerpoint/2010/main" val="3735610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6836C3AA-7B96-5ECF-4AD5-AA5927A54EEA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Documentazione</a:t>
            </a:r>
            <a:r>
              <a:rPr lang="en-US" sz="3600" b="1" noProof="0" dirty="0">
                <a:latin typeface="+mj-lt"/>
              </a:rPr>
              <a:t> DSRM (1/4)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2B1F487-DAC4-A397-C131-81558DE5D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306045"/>
              </p:ext>
            </p:extLst>
          </p:nvPr>
        </p:nvGraphicFramePr>
        <p:xfrm>
          <a:off x="106776" y="622883"/>
          <a:ext cx="11978448" cy="4798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855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918095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962527">
                  <a:extLst>
                    <a:ext uri="{9D8B030D-6E8A-4147-A177-3AD203B41FA5}">
                      <a16:colId xmlns:a16="http://schemas.microsoft.com/office/drawing/2014/main" val="2360126129"/>
                    </a:ext>
                  </a:extLst>
                </a:gridCol>
                <a:gridCol w="2430379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5702968">
                  <a:extLst>
                    <a:ext uri="{9D8B030D-6E8A-4147-A177-3AD203B41FA5}">
                      <a16:colId xmlns:a16="http://schemas.microsoft.com/office/drawing/2014/main" val="4184666322"/>
                    </a:ext>
                  </a:extLst>
                </a:gridCol>
                <a:gridCol w="1569624">
                  <a:extLst>
                    <a:ext uri="{9D8B030D-6E8A-4147-A177-3AD203B41FA5}">
                      <a16:colId xmlns:a16="http://schemas.microsoft.com/office/drawing/2014/main" val="3433958722"/>
                    </a:ext>
                  </a:extLst>
                </a:gridCol>
              </a:tblGrid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ARTEL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NTENU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lease No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 err="1">
                          <a:solidFill>
                            <a:schemeClr val="tx1"/>
                          </a:solidFill>
                        </a:rPr>
                        <a:t>DSRM_Release</a:t>
                      </a:r>
                      <a:r>
                        <a:rPr lang="it-IT" sz="1100" dirty="0">
                          <a:solidFill>
                            <a:schemeClr val="tx1"/>
                          </a:solidFill>
                        </a:rPr>
                        <a:t> Notes_v19.xlsx 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Elenco delle versioni e delle modifiche alle specifiche funzionali pubblicate nel corso del progetto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03/10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90583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ccesso AP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SRF-Autorizzazione-APISF-v1.1-signed_signed.pdf</a:t>
                      </a:r>
                      <a:endParaRPr lang="en-GB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Descrizion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eccanism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autenticazione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autorizzazione</a:t>
                      </a:r>
                      <a:r>
                        <a:rPr lang="en-US" sz="1100" dirty="0"/>
                        <a:t> per le API </a:t>
                      </a:r>
                      <a:r>
                        <a:rPr lang="en-US" sz="1100" dirty="0" err="1"/>
                        <a:t>esposte</a:t>
                      </a:r>
                      <a:r>
                        <a:rPr lang="en-US" sz="1100" dirty="0"/>
                        <a:t> dal DS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3/09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21537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Gestione </a:t>
                      </a:r>
                      <a:r>
                        <a:rPr lang="en-US" sz="1100" dirty="0" err="1"/>
                        <a:t>viagg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/>
                        <a:t>MVP fase 1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it-IT" sz="1100"/>
                        <a:t>DSSRF-Gestione viaggi_v1.7_signed.pdf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l MO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aggiorn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ermin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DSRM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prima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5134638"/>
                  </a:ext>
                </a:extLst>
              </a:tr>
              <a:tr h="28637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/>
                        <a:t>Swagger_GestioneViaggi_16.json 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wagger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la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unzionalità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stion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aggi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r la prima 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rimentazione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/09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630607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/>
                        <a:t>DSSRF-Gestione viaggi_v2.4_signed.pdf 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l MO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aggiorn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ermin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DSRM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econd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/1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691713"/>
                  </a:ext>
                </a:extLst>
              </a:tr>
              <a:tr h="43658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/>
                        <a:t>swagger gestione e recupero viaggi V2.json 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wagger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Gestion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second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8/03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5538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/>
                        <a:t>DSSRF-Gestione viaggi_v2.5_signed.pdf 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l MO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aggiorn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ermin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DSRM </a:t>
                      </a:r>
                      <a:r>
                        <a:rPr lang="en-US" sz="1100" dirty="0" err="1"/>
                        <a:t>utilizzand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3 </a:t>
                      </a:r>
                      <a:r>
                        <a:rPr lang="en-US" sz="1100" dirty="0" err="1"/>
                        <a:t>semplificata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05/’2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823940"/>
                  </a:ext>
                </a:extLst>
              </a:tr>
              <a:tr h="50675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hang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DSRM-Gestione viaggi_v2.5_signed.pdf </a:t>
                      </a:r>
                      <a:endParaRPr lang="it-IT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l MO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aggiorn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ermin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DSRM </a:t>
                      </a:r>
                      <a:r>
                        <a:rPr lang="en-US" sz="1100" dirty="0" err="1"/>
                        <a:t>utilizzand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3 </a:t>
                      </a:r>
                      <a:r>
                        <a:rPr lang="en-US" sz="1100" dirty="0" err="1"/>
                        <a:t>semplificata</a:t>
                      </a:r>
                      <a:endParaRPr lang="it-IT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5/02/2025</a:t>
                      </a:r>
                      <a:endParaRPr lang="it-IT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866270"/>
                  </a:ext>
                </a:extLst>
              </a:tr>
              <a:tr h="28637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/>
                        <a:t>GestioneViaggiService_v3_swagger.j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wagger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Gestione Viaggi per la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3 </a:t>
                      </a:r>
                      <a:r>
                        <a:rPr lang="en-US" sz="1100" dirty="0" err="1"/>
                        <a:t>semplificata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4/01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35080"/>
                  </a:ext>
                </a:extLst>
              </a:tr>
              <a:tr h="28637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RM-Gestione viaggi_v2.6_x_firma_signed.pdf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l MO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aggiorn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ermin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DSRM </a:t>
                      </a:r>
                      <a:r>
                        <a:rPr lang="en-US" sz="1100" dirty="0" err="1"/>
                        <a:t>utilizzand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4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include le </a:t>
                      </a:r>
                      <a:r>
                        <a:rPr lang="en-US" sz="1100" dirty="0" err="1"/>
                        <a:t>tralle</a:t>
                      </a:r>
                      <a:r>
                        <a:rPr lang="en-US" sz="1100" dirty="0"/>
                        <a:t> TPL non </a:t>
                      </a:r>
                      <a:r>
                        <a:rPr lang="en-US" sz="1100" dirty="0" err="1"/>
                        <a:t>NeTEx</a:t>
                      </a:r>
                      <a:endParaRPr lang="it-IT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03/10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404378"/>
                  </a:ext>
                </a:extLst>
              </a:tr>
              <a:tr h="28637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/>
                        <a:t>Swagger_gestione_viaggi_v4.j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wagger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Gestione Viaggi per la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4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9/09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627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0828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34048-92EC-9E3C-E3D5-76BE636C47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0D0C0DDD-E9EA-6871-2FAF-24BACCC9852A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Documentazione</a:t>
            </a:r>
            <a:r>
              <a:rPr lang="en-US" sz="3600" b="1" noProof="0" dirty="0">
                <a:latin typeface="+mj-lt"/>
              </a:rPr>
              <a:t> DSRM (1/4)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AB40260-34CE-E61E-1C54-668FAD716B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018980"/>
              </p:ext>
            </p:extLst>
          </p:nvPr>
        </p:nvGraphicFramePr>
        <p:xfrm>
          <a:off x="106776" y="622883"/>
          <a:ext cx="11978448" cy="4181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855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918095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962527">
                  <a:extLst>
                    <a:ext uri="{9D8B030D-6E8A-4147-A177-3AD203B41FA5}">
                      <a16:colId xmlns:a16="http://schemas.microsoft.com/office/drawing/2014/main" val="2360126129"/>
                    </a:ext>
                  </a:extLst>
                </a:gridCol>
                <a:gridCol w="2430379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5702968">
                  <a:extLst>
                    <a:ext uri="{9D8B030D-6E8A-4147-A177-3AD203B41FA5}">
                      <a16:colId xmlns:a16="http://schemas.microsoft.com/office/drawing/2014/main" val="4184666322"/>
                    </a:ext>
                  </a:extLst>
                </a:gridCol>
                <a:gridCol w="1569624">
                  <a:extLst>
                    <a:ext uri="{9D8B030D-6E8A-4147-A177-3AD203B41FA5}">
                      <a16:colId xmlns:a16="http://schemas.microsoft.com/office/drawing/2014/main" val="3433958722"/>
                    </a:ext>
                  </a:extLst>
                </a:gridCol>
              </a:tblGrid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LE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NTENU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65696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Recuper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/>
                        <a:t>MVP fase 1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SRF - Recupero dati di viaggio_v1.3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d un MO o ad un </a:t>
                      </a:r>
                      <a:r>
                        <a:rPr lang="en-US" sz="1100" dirty="0" err="1"/>
                        <a:t>operator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ichiam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lenc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ratte</a:t>
                      </a:r>
                      <a:r>
                        <a:rPr lang="en-US" sz="1100" dirty="0"/>
                        <a:t> di loro </a:t>
                      </a:r>
                      <a:r>
                        <a:rPr lang="en-US" sz="1100" dirty="0" err="1"/>
                        <a:t>competenza</a:t>
                      </a:r>
                      <a:r>
                        <a:rPr lang="en-US" sz="1100" dirty="0"/>
                        <a:t> e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di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o di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trat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pecifica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823940"/>
                  </a:ext>
                </a:extLst>
              </a:tr>
              <a:tr h="28637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/>
                        <a:t>Swagger_GestioneViaggi_16.json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wagger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la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unzionalità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upero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aggi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r la prima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rimentazione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1/09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35080"/>
                  </a:ext>
                </a:extLst>
              </a:tr>
              <a:tr h="54866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VP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Recupero_dati_di_viaggio_v2.1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d un MO o ad un </a:t>
                      </a:r>
                      <a:r>
                        <a:rPr lang="en-US" sz="1100" dirty="0" err="1"/>
                        <a:t>operator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ichiam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lenc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ratte</a:t>
                      </a:r>
                      <a:r>
                        <a:rPr lang="en-US" sz="1100" dirty="0"/>
                        <a:t> di loro </a:t>
                      </a:r>
                      <a:r>
                        <a:rPr lang="en-US" sz="1100" dirty="0" err="1"/>
                        <a:t>competenza</a:t>
                      </a:r>
                      <a:r>
                        <a:rPr lang="en-US" sz="1100" dirty="0"/>
                        <a:t> e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di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o di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trat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pecific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763458"/>
                  </a:ext>
                </a:extLst>
              </a:tr>
              <a:tr h="51148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swagger</a:t>
                      </a:r>
                      <a:r>
                        <a:rPr lang="it-IT" sz="1100" dirty="0"/>
                        <a:t> gestione e recupero viaggi V2.json 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ecuper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second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/01/2024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212877"/>
                  </a:ext>
                </a:extLst>
              </a:tr>
              <a:tr h="51736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hang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RM-Recupero_dati_di_viaggio_v2.2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d un MO o ad un </a:t>
                      </a:r>
                      <a:r>
                        <a:rPr lang="en-US" sz="1100" dirty="0" err="1"/>
                        <a:t>operator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ichiam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lenc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ratte</a:t>
                      </a:r>
                      <a:r>
                        <a:rPr lang="en-US" sz="1100" dirty="0"/>
                        <a:t> di loro </a:t>
                      </a:r>
                      <a:r>
                        <a:rPr lang="en-US" sz="1100" dirty="0" err="1"/>
                        <a:t>competenza</a:t>
                      </a:r>
                      <a:r>
                        <a:rPr lang="en-US" sz="1100" dirty="0"/>
                        <a:t> e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di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o di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trat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pecific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/01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926112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it-IT" sz="1100" dirty="0"/>
                        <a:t>GestioneViaggiService_v3_swagger.j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wagger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ecuper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versione</a:t>
                      </a:r>
                      <a:r>
                        <a:rPr lang="en-US" sz="1100" dirty="0"/>
                        <a:t> 3 </a:t>
                      </a:r>
                      <a:r>
                        <a:rPr lang="en-US" sz="1100" dirty="0" err="1"/>
                        <a:t>semplificata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4/01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854467"/>
                  </a:ext>
                </a:extLst>
              </a:tr>
              <a:tr h="4716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RM-Recupero_dati_di_viaggio_v2.3_x_firma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d un MO o ad un </a:t>
                      </a:r>
                      <a:r>
                        <a:rPr lang="en-US" sz="1100" dirty="0" err="1"/>
                        <a:t>operator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ichiam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lenc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tratte</a:t>
                      </a:r>
                      <a:r>
                        <a:rPr lang="en-US" sz="1100" dirty="0"/>
                        <a:t> di loro </a:t>
                      </a:r>
                      <a:r>
                        <a:rPr lang="en-US" sz="1100" dirty="0" err="1"/>
                        <a:t>competenza</a:t>
                      </a:r>
                      <a:r>
                        <a:rPr lang="en-US" sz="1100" dirty="0"/>
                        <a:t> e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di un </a:t>
                      </a:r>
                      <a:r>
                        <a:rPr lang="en-US" sz="1100" dirty="0" err="1"/>
                        <a:t>viaggio</a:t>
                      </a:r>
                      <a:r>
                        <a:rPr lang="en-US" sz="1100" dirty="0"/>
                        <a:t> o di </a:t>
                      </a:r>
                      <a:r>
                        <a:rPr lang="en-US" sz="1100" dirty="0" err="1"/>
                        <a:t>un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trat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pecific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3/10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9586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1567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2B1F487-DAC4-A397-C131-81558DE5D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470191"/>
              </p:ext>
            </p:extLst>
          </p:nvPr>
        </p:nvGraphicFramePr>
        <p:xfrm>
          <a:off x="108000" y="622800"/>
          <a:ext cx="11977200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918000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961200">
                  <a:extLst>
                    <a:ext uri="{9D8B030D-6E8A-4147-A177-3AD203B41FA5}">
                      <a16:colId xmlns:a16="http://schemas.microsoft.com/office/drawing/2014/main" val="2360126129"/>
                    </a:ext>
                  </a:extLst>
                </a:gridCol>
                <a:gridCol w="2430000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5702400">
                  <a:extLst>
                    <a:ext uri="{9D8B030D-6E8A-4147-A177-3AD203B41FA5}">
                      <a16:colId xmlns:a16="http://schemas.microsoft.com/office/drawing/2014/main" val="4184666322"/>
                    </a:ext>
                  </a:extLst>
                </a:gridCol>
                <a:gridCol w="1569600">
                  <a:extLst>
                    <a:ext uri="{9D8B030D-6E8A-4147-A177-3AD203B41FA5}">
                      <a16:colId xmlns:a16="http://schemas.microsoft.com/office/drawing/2014/main" val="3684188255"/>
                    </a:ext>
                  </a:extLst>
                </a:gridCol>
              </a:tblGrid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LE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NTENU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5359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Gestion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inamici</a:t>
                      </a:r>
                      <a:r>
                        <a:rPr lang="en-US" sz="1100" dirty="0"/>
                        <a:t> e accesso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sharing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VP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DSSRF-Gestione Dati dinamici e Accesso Dati Sharing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i MO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otifica</a:t>
                      </a:r>
                      <a:r>
                        <a:rPr lang="en-US" sz="1100" dirty="0"/>
                        <a:t> in </a:t>
                      </a:r>
                      <a:r>
                        <a:rPr lang="en-US" sz="1100" dirty="0" err="1"/>
                        <a:t>caso</a:t>
                      </a:r>
                      <a:r>
                        <a:rPr lang="en-US" sz="1100" dirty="0"/>
                        <a:t> vi </a:t>
                      </a:r>
                      <a:r>
                        <a:rPr lang="en-US" sz="1100" dirty="0" err="1"/>
                        <a:t>sia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v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ignificativ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mpatti</a:t>
                      </a:r>
                      <a:r>
                        <a:rPr lang="en-US" sz="1100" dirty="0"/>
                        <a:t> uno o </a:t>
                      </a:r>
                      <a:r>
                        <a:rPr lang="en-US" sz="1100" dirty="0" err="1"/>
                        <a:t>più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egistrati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regola</a:t>
                      </a:r>
                      <a:r>
                        <a:rPr lang="en-US" sz="1100" dirty="0"/>
                        <a:t> le </a:t>
                      </a:r>
                      <a:r>
                        <a:rPr lang="en-US" sz="1100" dirty="0" err="1"/>
                        <a:t>modalità</a:t>
                      </a:r>
                      <a:r>
                        <a:rPr lang="en-US" sz="1100" dirty="0"/>
                        <a:t> di accesso ai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inamici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207125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it-IT" sz="1100" dirty="0" err="1"/>
                        <a:t>OpenAPI_MO_notificaViaggiVariati.yaml</a:t>
                      </a:r>
                      <a:r>
                        <a:rPr lang="it-IT" sz="1100" dirty="0"/>
                        <a:t> 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API </a:t>
                      </a:r>
                      <a:r>
                        <a:rPr lang="en-US" sz="1100" dirty="0" err="1"/>
                        <a:t>espos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i</a:t>
                      </a:r>
                      <a:r>
                        <a:rPr lang="en-US" sz="1100" dirty="0"/>
                        <a:t> MO per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otific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ariati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/10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813599"/>
                  </a:ext>
                </a:extLst>
              </a:tr>
              <a:tr h="23361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it-IT" sz="1100" dirty="0" err="1"/>
                        <a:t>OpenAPI_Sharing.yaml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Swagger</a:t>
                      </a:r>
                      <a:r>
                        <a:rPr lang="it-IT" sz="1100" dirty="0"/>
                        <a:t> API OTP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2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036905"/>
                  </a:ext>
                </a:extLst>
              </a:tr>
              <a:tr h="5359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VP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it-IT" sz="1100" dirty="0"/>
                        <a:t>DSRM-Gestione Dati dinamici e Accesso Dati Sharing v2.3_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i MO di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otifica</a:t>
                      </a:r>
                      <a:r>
                        <a:rPr lang="en-US" sz="1100" dirty="0"/>
                        <a:t> in </a:t>
                      </a:r>
                      <a:r>
                        <a:rPr lang="en-US" sz="1100" dirty="0" err="1"/>
                        <a:t>caso</a:t>
                      </a:r>
                      <a:r>
                        <a:rPr lang="en-US" sz="1100" dirty="0"/>
                        <a:t> vi </a:t>
                      </a:r>
                      <a:r>
                        <a:rPr lang="en-US" sz="1100" dirty="0" err="1"/>
                        <a:t>sia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ev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ignificativ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mpatti</a:t>
                      </a:r>
                      <a:r>
                        <a:rPr lang="en-US" sz="1100" dirty="0"/>
                        <a:t> uno o </a:t>
                      </a:r>
                      <a:r>
                        <a:rPr lang="en-US" sz="1100" dirty="0" err="1"/>
                        <a:t>più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egistrati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regola</a:t>
                      </a:r>
                      <a:r>
                        <a:rPr lang="en-US" sz="1100" dirty="0"/>
                        <a:t> le </a:t>
                      </a:r>
                      <a:r>
                        <a:rPr lang="en-US" sz="1100" dirty="0" err="1"/>
                        <a:t>modalità</a:t>
                      </a:r>
                      <a:r>
                        <a:rPr lang="en-US" sz="1100" dirty="0"/>
                        <a:t> di accesso ai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inamici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3/05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604386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it-IT" sz="1100" dirty="0" err="1"/>
                        <a:t>OpenAPI_MO_notificaViaggiVaria</a:t>
                      </a:r>
                      <a:r>
                        <a:rPr lang="it-IT" sz="1100" dirty="0"/>
                        <a:t> </a:t>
                      </a:r>
                      <a:r>
                        <a:rPr lang="it-IT" sz="1100" dirty="0" err="1"/>
                        <a:t>ti.yaml</a:t>
                      </a:r>
                      <a:r>
                        <a:rPr lang="it-IT" sz="1100" dirty="0"/>
                        <a:t>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API </a:t>
                      </a:r>
                      <a:r>
                        <a:rPr lang="en-US" sz="1100" dirty="0" err="1"/>
                        <a:t>espos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i</a:t>
                      </a:r>
                      <a:r>
                        <a:rPr lang="en-US" sz="1100" dirty="0"/>
                        <a:t> MO per </a:t>
                      </a:r>
                      <a:r>
                        <a:rPr lang="en-US" sz="1100" dirty="0" err="1"/>
                        <a:t>riceve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otific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ariati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6/05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168673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dirty="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Swagger API </a:t>
                      </a:r>
                      <a:r>
                        <a:rPr lang="en-US" sz="1100" dirty="0" err="1"/>
                        <a:t>FM.json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API per il </a:t>
                      </a:r>
                      <a:r>
                        <a:rPr lang="en-US" sz="1100" dirty="0" err="1"/>
                        <a:t>recuper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inamic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elativi</a:t>
                      </a:r>
                      <a:r>
                        <a:rPr lang="en-US" sz="1100" dirty="0"/>
                        <a:t> a </a:t>
                      </a:r>
                      <a:r>
                        <a:rPr lang="en-US" sz="1100" dirty="0" err="1"/>
                        <a:t>parcheggi</a:t>
                      </a:r>
                      <a:r>
                        <a:rPr lang="en-US" sz="1100" dirty="0"/>
                        <a:t>/</a:t>
                      </a:r>
                      <a:r>
                        <a:rPr lang="en-US" sz="1100" dirty="0" err="1"/>
                        <a:t>stalli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a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osizion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eicoli</a:t>
                      </a:r>
                      <a:r>
                        <a:rPr lang="en-US" sz="1100" dirty="0"/>
                        <a:t> in sha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/05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476142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Accord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mmerciali</a:t>
                      </a:r>
                      <a:r>
                        <a:rPr lang="en-US" sz="1100" dirty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DSSRF-Accordi commerciali_v1.1_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agl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egistrare</a:t>
                      </a:r>
                      <a:r>
                        <a:rPr lang="en-US" sz="1100" dirty="0"/>
                        <a:t> o </a:t>
                      </a:r>
                      <a:r>
                        <a:rPr lang="en-US" sz="1100" dirty="0" err="1"/>
                        <a:t>disattivare</a:t>
                      </a:r>
                      <a:r>
                        <a:rPr lang="en-US" sz="1100" dirty="0"/>
                        <a:t> un </a:t>
                      </a:r>
                      <a:r>
                        <a:rPr lang="en-US" sz="1100" dirty="0" err="1"/>
                        <a:t>accord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mmerci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tipula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extrasistem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6/07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5134638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DSSRF – </a:t>
                      </a:r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Accordi</a:t>
                      </a:r>
                      <a:r>
                        <a:rPr lang="en-US" sz="1100" dirty="0"/>
                        <a:t> Commerciali_v1.0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Accord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mmercial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6/07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706728"/>
                  </a:ext>
                </a:extLst>
              </a:tr>
              <a:tr h="53593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iattaform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endit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/>
                        <a:t>DSSRF - Piattaforme di vendita v1.0_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i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Operator di </a:t>
                      </a:r>
                      <a:r>
                        <a:rPr lang="en-US" sz="1100" dirty="0" err="1"/>
                        <a:t>recuperar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l’elenc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iattaform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endit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gl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/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sì</a:t>
                      </a:r>
                      <a:r>
                        <a:rPr lang="en-US" sz="1100" dirty="0"/>
                        <a:t> come </a:t>
                      </a:r>
                      <a:r>
                        <a:rPr lang="en-US" sz="1100" dirty="0" err="1"/>
                        <a:t>registra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N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299086"/>
                  </a:ext>
                </a:extLst>
              </a:tr>
              <a:tr h="3847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it-IT" sz="1100" dirty="0" err="1"/>
                        <a:t>Swagger</a:t>
                      </a:r>
                      <a:r>
                        <a:rPr lang="it-IT" sz="1100" dirty="0"/>
                        <a:t> Scarico Massivo NAP v1.json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wagger API per il </a:t>
                      </a:r>
                      <a:r>
                        <a:rPr lang="en-US" sz="1100" dirty="0" err="1"/>
                        <a:t>recuper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iattaform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vendita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3/0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88325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4026CB2-472D-36D4-5ED4-B4D5CAB21CE0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Documentazione</a:t>
            </a:r>
            <a:r>
              <a:rPr lang="en-US" sz="3600" b="1" noProof="0" dirty="0">
                <a:latin typeface="+mj-lt"/>
              </a:rPr>
              <a:t> DSRM (2/4)</a:t>
            </a:r>
          </a:p>
        </p:txBody>
      </p:sp>
    </p:spTree>
    <p:extLst>
      <p:ext uri="{BB962C8B-B14F-4D97-AF65-F5344CB8AC3E}">
        <p14:creationId xmlns:p14="http://schemas.microsoft.com/office/powerpoint/2010/main" val="2300324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2B1F487-DAC4-A397-C131-81558DE5D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063549"/>
              </p:ext>
            </p:extLst>
          </p:nvPr>
        </p:nvGraphicFramePr>
        <p:xfrm>
          <a:off x="108000" y="622800"/>
          <a:ext cx="11977200" cy="586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918000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961200">
                  <a:extLst>
                    <a:ext uri="{9D8B030D-6E8A-4147-A177-3AD203B41FA5}">
                      <a16:colId xmlns:a16="http://schemas.microsoft.com/office/drawing/2014/main" val="2360126129"/>
                    </a:ext>
                  </a:extLst>
                </a:gridCol>
                <a:gridCol w="2430000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5702400">
                  <a:extLst>
                    <a:ext uri="{9D8B030D-6E8A-4147-A177-3AD203B41FA5}">
                      <a16:colId xmlns:a16="http://schemas.microsoft.com/office/drawing/2014/main" val="4184666322"/>
                    </a:ext>
                  </a:extLst>
                </a:gridCol>
                <a:gridCol w="1569600">
                  <a:extLst>
                    <a:ext uri="{9D8B030D-6E8A-4147-A177-3AD203B41FA5}">
                      <a16:colId xmlns:a16="http://schemas.microsoft.com/office/drawing/2014/main" val="2380703628"/>
                    </a:ext>
                  </a:extLst>
                </a:gridCol>
              </a:tblGrid>
              <a:tr h="32467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LE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NTENU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Scaric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ssiv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N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DSSRF- Scarico massivo dati NAP_v1.3_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Funzionalità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nsente</a:t>
                      </a:r>
                      <a:r>
                        <a:rPr lang="en-US" sz="1100" dirty="0"/>
                        <a:t> ai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Operator di </a:t>
                      </a:r>
                      <a:r>
                        <a:rPr lang="en-US" sz="1100" dirty="0" err="1"/>
                        <a:t>recuperare</a:t>
                      </a:r>
                      <a:r>
                        <a:rPr lang="en-US" sz="1100" dirty="0"/>
                        <a:t> le </a:t>
                      </a:r>
                      <a:r>
                        <a:rPr lang="en-US" sz="1100" dirty="0" err="1"/>
                        <a:t>variazion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tatic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sì</a:t>
                      </a:r>
                      <a:r>
                        <a:rPr lang="en-US" sz="1100" dirty="0"/>
                        <a:t> come </a:t>
                      </a:r>
                      <a:r>
                        <a:rPr lang="en-US" sz="1100" dirty="0" err="1"/>
                        <a:t>comunica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gl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al N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4/1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61864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Swagger_scarico_massivo_dssrf.json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API </a:t>
                      </a:r>
                      <a:r>
                        <a:rPr lang="en-US" sz="1100" dirty="0" err="1"/>
                        <a:t>esposta</a:t>
                      </a:r>
                      <a:r>
                        <a:rPr lang="en-US" sz="1100" dirty="0"/>
                        <a:t> dal NAP e </a:t>
                      </a:r>
                      <a:r>
                        <a:rPr lang="en-US" sz="1100" dirty="0" err="1"/>
                        <a:t>richiamabile</a:t>
                      </a:r>
                      <a:r>
                        <a:rPr lang="en-US" sz="1100" dirty="0"/>
                        <a:t> dal DSRM per </a:t>
                      </a:r>
                      <a:r>
                        <a:rPr lang="en-US" sz="1100" dirty="0" err="1"/>
                        <a:t>scaricare</a:t>
                      </a:r>
                      <a:r>
                        <a:rPr lang="en-US" sz="1100" dirty="0"/>
                        <a:t> le </a:t>
                      </a:r>
                      <a:r>
                        <a:rPr lang="en-US" sz="1100" dirty="0" err="1"/>
                        <a:t>variazion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tatic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/09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24869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Swagger_scarico_massivo_maas_op.json</a:t>
                      </a:r>
                      <a:r>
                        <a:rPr lang="it-IT" sz="1100" dirty="0"/>
                        <a:t>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wagger API </a:t>
                      </a:r>
                      <a:r>
                        <a:rPr lang="en-US" sz="1100" dirty="0" err="1"/>
                        <a:t>esposta</a:t>
                      </a:r>
                      <a:r>
                        <a:rPr lang="en-US" sz="1100" dirty="0"/>
                        <a:t> dal DSRM per </a:t>
                      </a:r>
                      <a:r>
                        <a:rPr lang="en-US" sz="1100" dirty="0" err="1"/>
                        <a:t>scaricare</a:t>
                      </a:r>
                      <a:r>
                        <a:rPr lang="en-US" sz="1100" dirty="0"/>
                        <a:t> le </a:t>
                      </a:r>
                      <a:r>
                        <a:rPr lang="en-US" sz="1100" dirty="0" err="1"/>
                        <a:t>variazion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a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tatic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4/04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794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KP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Chang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SRF-Manuale Utente KPI_v1.2.docx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KP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3/03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237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SRF-Gestione KPI_v2.4_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gestione</a:t>
                      </a:r>
                      <a:r>
                        <a:rPr lang="en-US" sz="1100" dirty="0"/>
                        <a:t> KP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8/08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330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nalyt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Chang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SRF-Gestione Analytics_v1.1_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unzionalità di </a:t>
                      </a:r>
                      <a:r>
                        <a:rPr lang="en-US" sz="1100" dirty="0" err="1"/>
                        <a:t>visualizzazione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scarico</a:t>
                      </a:r>
                      <a:r>
                        <a:rPr lang="en-US" sz="1100" dirty="0"/>
                        <a:t> di report di Analytic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8/08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58771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SSRF – </a:t>
                      </a:r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Analytics_v1.0_signed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di Analyt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7/07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890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Chiariment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richies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informazioni</a:t>
                      </a:r>
                      <a:r>
                        <a:rPr lang="en-US" sz="1100" dirty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/>
                        <a:t>-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DSSRF-ChiarimentiRichiesteInformazioneMO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Document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chiarim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ntenu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pecifi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funzionali</a:t>
                      </a:r>
                      <a:r>
                        <a:rPr lang="en-US" sz="1100" dirty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6/11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231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iattaform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estensibile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SRM - Piattaforma Estensibile_ v1.1_signed.pdf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Soluzione architetturale che consente a sistemi esterni di integrare ed espandere le funzionalità del DSRM, il quale farà da punto di accesso per tali funzionalità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7/04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4723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Chiarimenti</a:t>
                      </a:r>
                      <a:r>
                        <a:rPr lang="en-US" sz="1100" dirty="0"/>
                        <a:t> Template </a:t>
                      </a:r>
                      <a:r>
                        <a:rPr lang="en-US" sz="1100" dirty="0" err="1"/>
                        <a:t>caricam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endParaRPr lang="en-US" sz="1100" dirty="0"/>
                    </a:p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SRM-ChiarimentiTemplateCaricamentoViaggi.pd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Document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chiarim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la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ompilazione</a:t>
                      </a:r>
                      <a:r>
                        <a:rPr lang="en-US" sz="1100" dirty="0"/>
                        <a:t> del template per il </a:t>
                      </a:r>
                      <a:r>
                        <a:rPr lang="en-US" sz="1100" dirty="0" err="1"/>
                        <a:t>caricam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ssiv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/05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7414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mplateCaricamentoViaggi_rev.2.x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Template per il </a:t>
                      </a:r>
                      <a:r>
                        <a:rPr lang="en-US" sz="1100" dirty="0" err="1"/>
                        <a:t>caricamen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ssiv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viaggi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/057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43369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530E675-98AC-70A1-D102-8AA81ED9F27B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Documentazione</a:t>
            </a:r>
            <a:r>
              <a:rPr lang="en-US" sz="3600" b="1" noProof="0" dirty="0">
                <a:latin typeface="+mj-lt"/>
              </a:rPr>
              <a:t> DSRM (3/4)</a:t>
            </a:r>
          </a:p>
        </p:txBody>
      </p:sp>
    </p:spTree>
    <p:extLst>
      <p:ext uri="{BB962C8B-B14F-4D97-AF65-F5344CB8AC3E}">
        <p14:creationId xmlns:p14="http://schemas.microsoft.com/office/powerpoint/2010/main" val="1386582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2B1F487-DAC4-A397-C131-81558DE5D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540672"/>
              </p:ext>
            </p:extLst>
          </p:nvPr>
        </p:nvGraphicFramePr>
        <p:xfrm>
          <a:off x="108000" y="622800"/>
          <a:ext cx="11977200" cy="527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1029236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923637">
                  <a:extLst>
                    <a:ext uri="{9D8B030D-6E8A-4147-A177-3AD203B41FA5}">
                      <a16:colId xmlns:a16="http://schemas.microsoft.com/office/drawing/2014/main" val="2360126129"/>
                    </a:ext>
                  </a:extLst>
                </a:gridCol>
                <a:gridCol w="2678545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5541818">
                  <a:extLst>
                    <a:ext uri="{9D8B030D-6E8A-4147-A177-3AD203B41FA5}">
                      <a16:colId xmlns:a16="http://schemas.microsoft.com/office/drawing/2014/main" val="4184666322"/>
                    </a:ext>
                  </a:extLst>
                </a:gridCol>
                <a:gridCol w="1407964">
                  <a:extLst>
                    <a:ext uri="{9D8B030D-6E8A-4147-A177-3AD203B41FA5}">
                      <a16:colId xmlns:a16="http://schemas.microsoft.com/office/drawing/2014/main" val="2380703628"/>
                    </a:ext>
                  </a:extLst>
                </a:gridCol>
              </a:tblGrid>
              <a:tr h="32467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LE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NTENU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Registrazione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accreditamento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RM-Manuale Utente Registrazione e Accreditamento_v1.3_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Manu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per la </a:t>
                      </a: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egistrazione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Accreditamento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7/01/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99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SRF-Registrazione e accreditamento sulla piattaforma_v1.5_signed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/>
                        <a:t>Funziona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ch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permette</a:t>
                      </a:r>
                      <a:r>
                        <a:rPr lang="en-US" sz="1100" dirty="0"/>
                        <a:t> a </a:t>
                      </a:r>
                      <a:r>
                        <a:rPr lang="en-US" sz="1100" dirty="0" err="1"/>
                        <a:t>qualsias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uten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(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,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Operator, </a:t>
                      </a:r>
                      <a:r>
                        <a:rPr lang="en-US" sz="1100" dirty="0" err="1"/>
                        <a:t>Amministratore</a:t>
                      </a:r>
                      <a:r>
                        <a:rPr lang="en-US" sz="1100" dirty="0"/>
                        <a:t> MIT. Authority, RAP) di </a:t>
                      </a:r>
                      <a:r>
                        <a:rPr lang="en-US" sz="1100" dirty="0" err="1"/>
                        <a:t>interagire</a:t>
                      </a:r>
                      <a:r>
                        <a:rPr lang="en-US" sz="1100" dirty="0"/>
                        <a:t> con la </a:t>
                      </a:r>
                      <a:r>
                        <a:rPr lang="en-US" sz="1100" dirty="0" err="1"/>
                        <a:t>piattaforma</a:t>
                      </a:r>
                      <a:r>
                        <a:rPr lang="en-US" sz="1100" dirty="0"/>
                        <a:t> DS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6/09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853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Retrocompatibilità</a:t>
                      </a:r>
                      <a:r>
                        <a:rPr lang="en-US" sz="1100" dirty="0"/>
                        <a:t> API MVP 1- MVP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DSRM - Integrazione con DSRM - Transizione da MVP Fase 1 a MVP fase 2_v02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Documento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dettagli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ul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logich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retrocompatibi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e</a:t>
                      </a:r>
                      <a:r>
                        <a:rPr lang="en-US" sz="1100" dirty="0"/>
                        <a:t> API </a:t>
                      </a:r>
                      <a:r>
                        <a:rPr lang="en-US" sz="1100" dirty="0" err="1"/>
                        <a:t>tra</a:t>
                      </a:r>
                      <a:r>
                        <a:rPr lang="en-US" sz="1100" dirty="0"/>
                        <a:t> 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1 e 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2/07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3351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Onboar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 err="1"/>
                        <a:t>Onboarding</a:t>
                      </a:r>
                      <a:r>
                        <a:rPr lang="it-IT" sz="1100" dirty="0"/>
                        <a:t> operatori di </a:t>
                      </a:r>
                      <a:r>
                        <a:rPr lang="it-IT" sz="1100" dirty="0" err="1"/>
                        <a:t>tras</a:t>
                      </a:r>
                      <a:r>
                        <a:rPr lang="it-IT" sz="1100" dirty="0"/>
                        <a:t> e mob al DS&amp;SRF e al NAP 1.1-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cedure di accesso e di </a:t>
                      </a:r>
                      <a:r>
                        <a:rPr lang="en-US" sz="1100" dirty="0" err="1"/>
                        <a:t>utilizz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ervizi</a:t>
                      </a:r>
                      <a:r>
                        <a:rPr lang="en-US" sz="1100" dirty="0"/>
                        <a:t> DSRM da </a:t>
                      </a:r>
                      <a:r>
                        <a:rPr lang="en-US" sz="1100" dirty="0" err="1"/>
                        <a:t>par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gl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prima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1/10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155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accesso dei </a:t>
                      </a:r>
                      <a:r>
                        <a:rPr lang="it-IT" sz="1100" dirty="0" err="1"/>
                        <a:t>MaaS</a:t>
                      </a:r>
                      <a:r>
                        <a:rPr lang="it-IT" sz="1100" dirty="0"/>
                        <a:t> operator al DSSRF V1.1-signed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Procedure di accesso e di </a:t>
                      </a:r>
                      <a:r>
                        <a:rPr lang="en-US" sz="1100" dirty="0" err="1"/>
                        <a:t>utilizz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ervizi</a:t>
                      </a:r>
                      <a:r>
                        <a:rPr lang="en-US" sz="1100" dirty="0"/>
                        <a:t> DSRM da </a:t>
                      </a:r>
                      <a:r>
                        <a:rPr lang="en-US" sz="1100" dirty="0" err="1"/>
                        <a:t>par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Operator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prima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11/10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366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MVP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2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 err="1"/>
                        <a:t>Onboarding</a:t>
                      </a:r>
                      <a:r>
                        <a:rPr lang="it-IT" sz="1100" dirty="0"/>
                        <a:t> operatori di trasporto e mobilità al DSRM PNC V1.1_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Procedure di accesso e di </a:t>
                      </a:r>
                      <a:r>
                        <a:rPr lang="en-US" sz="1100" dirty="0" err="1"/>
                        <a:t>utilizz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ervizi</a:t>
                      </a:r>
                      <a:r>
                        <a:rPr lang="en-US" sz="1100" dirty="0"/>
                        <a:t> DSRM da </a:t>
                      </a:r>
                      <a:r>
                        <a:rPr lang="en-US" sz="1100" dirty="0" err="1"/>
                        <a:t>par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gl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Operatori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trasporto</a:t>
                      </a:r>
                      <a:r>
                        <a:rPr lang="en-US" sz="1100" dirty="0"/>
                        <a:t> e </a:t>
                      </a:r>
                      <a:r>
                        <a:rPr lang="en-US" sz="1100" dirty="0" err="1"/>
                        <a:t>mobilità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prima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15/02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074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 err="1"/>
                        <a:t>Onboarding</a:t>
                      </a:r>
                      <a:r>
                        <a:rPr lang="it-IT" sz="1100" dirty="0"/>
                        <a:t> dei </a:t>
                      </a:r>
                      <a:r>
                        <a:rPr lang="it-IT" sz="1100" dirty="0" err="1"/>
                        <a:t>MaaS</a:t>
                      </a:r>
                      <a:r>
                        <a:rPr lang="it-IT" sz="1100" dirty="0"/>
                        <a:t> operator al DSRM PNC V1.1_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Procedure di accesso e di </a:t>
                      </a:r>
                      <a:r>
                        <a:rPr lang="en-US" sz="1100" dirty="0" err="1"/>
                        <a:t>utilizz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servizi</a:t>
                      </a:r>
                      <a:r>
                        <a:rPr lang="en-US" sz="1100" dirty="0"/>
                        <a:t> DSRM da </a:t>
                      </a:r>
                      <a:r>
                        <a:rPr lang="en-US" sz="1100" dirty="0" err="1"/>
                        <a:t>part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Operator </a:t>
                      </a:r>
                      <a:r>
                        <a:rPr lang="en-US" sz="1100" dirty="0" err="1"/>
                        <a:t>nell’ambito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della</a:t>
                      </a:r>
                      <a:r>
                        <a:rPr lang="en-US" sz="1100" dirty="0"/>
                        <a:t> prima </a:t>
                      </a:r>
                      <a:r>
                        <a:rPr lang="en-US" sz="1100" dirty="0" err="1"/>
                        <a:t>fase</a:t>
                      </a:r>
                      <a:r>
                        <a:rPr lang="en-US" sz="1100" dirty="0"/>
                        <a:t> di </a:t>
                      </a:r>
                      <a:r>
                        <a:rPr lang="en-US" sz="1100" dirty="0" err="1"/>
                        <a:t>sperimentazione</a:t>
                      </a:r>
                      <a:r>
                        <a:rPr lang="en-US" sz="1100" dirty="0"/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15/02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0423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&amp;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dirty="0"/>
                        <a:t>Termini e condizioni per l'utilizzo dei servizi del DSRM_V1.3finale_signed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Termini e </a:t>
                      </a:r>
                      <a:r>
                        <a:rPr lang="en-US" sz="1100" dirty="0" err="1"/>
                        <a:t>condizioni</a:t>
                      </a:r>
                      <a:r>
                        <a:rPr lang="en-US" sz="1100" dirty="0"/>
                        <a:t> da </a:t>
                      </a:r>
                      <a:r>
                        <a:rPr lang="en-US" sz="1100" dirty="0" err="1"/>
                        <a:t>sottoscrive</a:t>
                      </a:r>
                      <a:r>
                        <a:rPr lang="en-US" sz="1100" dirty="0"/>
                        <a:t> per </a:t>
                      </a:r>
                      <a:r>
                        <a:rPr lang="en-US" sz="1100" dirty="0" err="1"/>
                        <a:t>avere</a:t>
                      </a:r>
                      <a:r>
                        <a:rPr lang="en-US" sz="1100" dirty="0"/>
                        <a:t> accesso ai </a:t>
                      </a:r>
                      <a:r>
                        <a:rPr lang="en-US" sz="1100" dirty="0" err="1"/>
                        <a:t>servizi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messi</a:t>
                      </a:r>
                      <a:r>
                        <a:rPr lang="en-US" sz="1100" dirty="0"/>
                        <a:t> a </a:t>
                      </a:r>
                      <a:r>
                        <a:rPr lang="en-US" sz="1100" dirty="0" err="1"/>
                        <a:t>disposizione</a:t>
                      </a:r>
                      <a:r>
                        <a:rPr lang="en-US" sz="1100" dirty="0"/>
                        <a:t> del DS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02/08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281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ambio </a:t>
                      </a:r>
                      <a:r>
                        <a:rPr lang="en-US" sz="1100" dirty="0" err="1"/>
                        <a:t>Dominio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SRM – Cambio </a:t>
                      </a:r>
                      <a:r>
                        <a:rPr lang="en-US" sz="1100" dirty="0" err="1"/>
                        <a:t>dominio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it-IT" sz="1100" dirty="0"/>
                        <a:t>Pianificazione e modalità operative per la predisposizione del nuovo dominio per i flussi “Portale” e “B2B”, inclusi i dettagli sul meccanismo di accesso e gli endpoint da richiamare per interagire con le API fornite dal DSRM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/>
                        <a:t>14/11/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06471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530E675-98AC-70A1-D102-8AA81ED9F27B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Documentazione</a:t>
            </a:r>
            <a:r>
              <a:rPr lang="en-US" sz="3600" b="1" noProof="0" dirty="0">
                <a:latin typeface="+mj-lt"/>
              </a:rPr>
              <a:t> DSRM (4/4)</a:t>
            </a:r>
          </a:p>
        </p:txBody>
      </p:sp>
    </p:spTree>
    <p:extLst>
      <p:ext uri="{BB962C8B-B14F-4D97-AF65-F5344CB8AC3E}">
        <p14:creationId xmlns:p14="http://schemas.microsoft.com/office/powerpoint/2010/main" val="289027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2B1F487-DAC4-A397-C131-81558DE5DC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554088"/>
              </p:ext>
            </p:extLst>
          </p:nvPr>
        </p:nvGraphicFramePr>
        <p:xfrm>
          <a:off x="381000" y="1185402"/>
          <a:ext cx="11430001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3664">
                  <a:extLst>
                    <a:ext uri="{9D8B030D-6E8A-4147-A177-3AD203B41FA5}">
                      <a16:colId xmlns:a16="http://schemas.microsoft.com/office/drawing/2014/main" val="435389284"/>
                    </a:ext>
                  </a:extLst>
                </a:gridCol>
                <a:gridCol w="2378094">
                  <a:extLst>
                    <a:ext uri="{9D8B030D-6E8A-4147-A177-3AD203B41FA5}">
                      <a16:colId xmlns:a16="http://schemas.microsoft.com/office/drawing/2014/main" val="1391224395"/>
                    </a:ext>
                  </a:extLst>
                </a:gridCol>
                <a:gridCol w="5724674">
                  <a:extLst>
                    <a:ext uri="{9D8B030D-6E8A-4147-A177-3AD203B41FA5}">
                      <a16:colId xmlns:a16="http://schemas.microsoft.com/office/drawing/2014/main" val="845565869"/>
                    </a:ext>
                  </a:extLst>
                </a:gridCol>
                <a:gridCol w="2883569">
                  <a:extLst>
                    <a:ext uri="{9D8B030D-6E8A-4147-A177-3AD203B41FA5}">
                      <a16:colId xmlns:a16="http://schemas.microsoft.com/office/drawing/2014/main" val="1998071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RE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OME DOCUM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ATA PUBBLICAZI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964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Standard e linee guida per la compilazione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Standard NETEX-SIRI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2/10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905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sz="1100" dirty="0" err="1"/>
                        <a:t>Documentazione</a:t>
                      </a:r>
                      <a:r>
                        <a:rPr lang="en-US" sz="1100" dirty="0"/>
                        <a:t> N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RU21754-Accesso ai dati </a:t>
                      </a:r>
                      <a:r>
                        <a:rPr lang="it-IT" sz="1100" dirty="0" err="1"/>
                        <a:t>NeTEx</a:t>
                      </a:r>
                      <a:r>
                        <a:rPr lang="it-IT" sz="1100" dirty="0"/>
                        <a:t> del NAP-1.2.pdf 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7/11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3956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RU21754-verifica delle variazioni alla base dati del </a:t>
                      </a:r>
                      <a:r>
                        <a:rPr lang="it-IT" sz="1100" dirty="0" err="1"/>
                        <a:t>NeTEx</a:t>
                      </a:r>
                      <a:r>
                        <a:rPr lang="it-IT" sz="1100" dirty="0"/>
                        <a:t> del NAP_1.2.pdf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07/11/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6961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120EE0D-EE3D-2B1E-4EE8-9C33E3937056}"/>
              </a:ext>
            </a:extLst>
          </p:cNvPr>
          <p:cNvSpPr txBox="1"/>
          <p:nvPr/>
        </p:nvSpPr>
        <p:spPr>
          <a:xfrm>
            <a:off x="381000" y="45474"/>
            <a:ext cx="11430000" cy="67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noProof="0" dirty="0" err="1">
                <a:latin typeface="+mj-lt"/>
              </a:rPr>
              <a:t>Altra</a:t>
            </a:r>
            <a:r>
              <a:rPr lang="en-US" sz="3600" b="1" noProof="0" dirty="0">
                <a:latin typeface="+mj-lt"/>
              </a:rPr>
              <a:t> </a:t>
            </a:r>
            <a:r>
              <a:rPr lang="en-US" sz="3600" b="1" noProof="0" dirty="0" err="1">
                <a:latin typeface="+mj-lt"/>
              </a:rPr>
              <a:t>documentazione</a:t>
            </a:r>
            <a:endParaRPr lang="en-US" sz="3600" b="1" noProof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6215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4423da1-aed5-43dd-81b3-252b6a84faa9" xsi:nil="true"/>
    <lcf76f155ced4ddcb4097134ff3c332f xmlns="709083ee-0a95-4f30-969e-4324339c974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FF6E12906B8A45A0BA7D9CD6A8F1D4" ma:contentTypeVersion="12" ma:contentTypeDescription="Create a new document." ma:contentTypeScope="" ma:versionID="c27eb6e96e041bf5a42d80c872456d8b">
  <xsd:schema xmlns:xsd="http://www.w3.org/2001/XMLSchema" xmlns:xs="http://www.w3.org/2001/XMLSchema" xmlns:p="http://schemas.microsoft.com/office/2006/metadata/properties" xmlns:ns2="709083ee-0a95-4f30-969e-4324339c9743" xmlns:ns3="74423da1-aed5-43dd-81b3-252b6a84faa9" targetNamespace="http://schemas.microsoft.com/office/2006/metadata/properties" ma:root="true" ma:fieldsID="64f69d785fa17e3ad6e7cb4d178454ad" ns2:_="" ns3:_="">
    <xsd:import namespace="709083ee-0a95-4f30-969e-4324339c9743"/>
    <xsd:import namespace="74423da1-aed5-43dd-81b3-252b6a84fa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9083ee-0a95-4f30-969e-4324339c97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423da1-aed5-43dd-81b3-252b6a84faa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a728eff-875f-4c59-9b12-50433f527c11}" ma:internalName="TaxCatchAll" ma:showField="CatchAllData" ma:web="74423da1-aed5-43dd-81b3-252b6a84fa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2C353B-8B4B-4339-8761-9CC646948CF6}">
  <ds:schemaRefs>
    <ds:schemaRef ds:uri="http://schemas.microsoft.com/office/2006/documentManagement/types"/>
    <ds:schemaRef ds:uri="709083ee-0a95-4f30-969e-4324339c9743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elements/1.1/"/>
    <ds:schemaRef ds:uri="http://purl.org/dc/terms/"/>
    <ds:schemaRef ds:uri="http://purl.org/dc/dcmitype/"/>
    <ds:schemaRef ds:uri="http://schemas.openxmlformats.org/package/2006/metadata/core-properties"/>
    <ds:schemaRef ds:uri="74423da1-aed5-43dd-81b3-252b6a84faa9"/>
  </ds:schemaRefs>
</ds:datastoreItem>
</file>

<file path=customXml/itemProps2.xml><?xml version="1.0" encoding="utf-8"?>
<ds:datastoreItem xmlns:ds="http://schemas.openxmlformats.org/officeDocument/2006/customXml" ds:itemID="{CEF09AF9-281D-49F0-8196-17A579F1F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8BCB99-90E9-46D6-AC4D-41C21E1239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9083ee-0a95-4f30-969e-4324339c9743"/>
    <ds:schemaRef ds:uri="74423da1-aed5-43dd-81b3-252b6a84fa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87</TotalTime>
  <Words>1589</Words>
  <Application>Microsoft Office PowerPoint</Application>
  <PresentationFormat>Widescreen</PresentationFormat>
  <Paragraphs>288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Arial Black</vt:lpstr>
      <vt:lpstr>Calibri</vt:lpstr>
      <vt:lpstr>Graphik</vt:lpstr>
      <vt:lpstr>GT Sectra Fine</vt:lpstr>
      <vt:lpstr>System Font</vt:lpstr>
      <vt:lpstr>1_Office Theme</vt:lpstr>
      <vt:lpstr>think-cell Slide</vt:lpstr>
      <vt:lpstr>Indice documenti reposito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cus Registrazione DS&amp;SRF</dc:title>
  <dc:creator>Andreoni, Sara</dc:creator>
  <cp:lastModifiedBy>Longobardi, Iolanda</cp:lastModifiedBy>
  <cp:revision>9</cp:revision>
  <dcterms:created xsi:type="dcterms:W3CDTF">2023-05-26T11:26:12Z</dcterms:created>
  <dcterms:modified xsi:type="dcterms:W3CDTF">2025-10-03T09:4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FF6E12906B8A45A0BA7D9CD6A8F1D4</vt:lpwstr>
  </property>
  <property fmtid="{D5CDD505-2E9C-101B-9397-08002B2CF9AE}" pid="3" name="MediaServiceImageTags">
    <vt:lpwstr/>
  </property>
</Properties>
</file>